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775" r:id="rId1"/>
    <p:sldMasterId id="2147484111" r:id="rId2"/>
  </p:sldMasterIdLst>
  <p:notesMasterIdLst>
    <p:notesMasterId r:id="rId18"/>
  </p:notesMasterIdLst>
  <p:handoutMasterIdLst>
    <p:handoutMasterId r:id="rId19"/>
  </p:handoutMasterIdLst>
  <p:sldIdLst>
    <p:sldId id="360" r:id="rId3"/>
    <p:sldId id="384" r:id="rId4"/>
    <p:sldId id="386" r:id="rId5"/>
    <p:sldId id="388" r:id="rId6"/>
    <p:sldId id="387" r:id="rId7"/>
    <p:sldId id="391" r:id="rId8"/>
    <p:sldId id="392" r:id="rId9"/>
    <p:sldId id="389" r:id="rId10"/>
    <p:sldId id="385" r:id="rId11"/>
    <p:sldId id="393" r:id="rId12"/>
    <p:sldId id="394" r:id="rId13"/>
    <p:sldId id="395" r:id="rId14"/>
    <p:sldId id="396" r:id="rId15"/>
    <p:sldId id="397" r:id="rId16"/>
    <p:sldId id="398" r:id="rId17"/>
  </p:sldIdLst>
  <p:sldSz cx="9144000" cy="6858000" type="screen4x3"/>
  <p:notesSz cx="7010400" cy="92964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>
          <p15:clr>
            <a:srgbClr val="A4A3A4"/>
          </p15:clr>
        </p15:guide>
        <p15:guide id="3" pos="336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4A9"/>
    <a:srgbClr val="034193"/>
    <a:srgbClr val="0D5EB6"/>
    <a:srgbClr val="1F497D"/>
    <a:srgbClr val="5F6062"/>
    <a:srgbClr val="F58025"/>
    <a:srgbClr val="FFFFCC"/>
    <a:srgbClr val="E31937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867" autoAdjust="0"/>
    <p:restoredTop sz="97633" autoAdjust="0"/>
  </p:normalViewPr>
  <p:slideViewPr>
    <p:cSldViewPr showGuides="1">
      <p:cViewPr varScale="1">
        <p:scale>
          <a:sx n="105" d="100"/>
          <a:sy n="105" d="100"/>
        </p:scale>
        <p:origin x="2070" y="78"/>
      </p:cViewPr>
      <p:guideLst>
        <p:guide orient="horz"/>
        <p:guide/>
        <p:guide pos="33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slide" Target="slides/slide6.xml" Id="rId8" /><Relationship Type="http://schemas.openxmlformats.org/officeDocument/2006/relationships/slide" Target="slides/slide11.xml" Id="rId13" /><Relationship Type="http://schemas.openxmlformats.org/officeDocument/2006/relationships/notesMaster" Target="notesMasters/notesMaster1.xml" Id="rId18" /><Relationship Type="http://schemas.openxmlformats.org/officeDocument/2006/relationships/slide" Target="slides/slide1.xml" Id="rId3" /><Relationship Type="http://schemas.openxmlformats.org/officeDocument/2006/relationships/presProps" Target="presProps.xml" Id="rId21" /><Relationship Type="http://schemas.openxmlformats.org/officeDocument/2006/relationships/slide" Target="slides/slide5.xml" Id="rId7" /><Relationship Type="http://schemas.openxmlformats.org/officeDocument/2006/relationships/slide" Target="slides/slide10.xml" Id="rId12" /><Relationship Type="http://schemas.openxmlformats.org/officeDocument/2006/relationships/slide" Target="slides/slide15.xml" Id="rId17" /><Relationship Type="http://schemas.openxmlformats.org/officeDocument/2006/relationships/slideMaster" Target="slideMasters/slideMaster2.xml" Id="rId2" /><Relationship Type="http://schemas.openxmlformats.org/officeDocument/2006/relationships/slide" Target="slides/slide14.xml" Id="rId16" /><Relationship Type="http://schemas.openxmlformats.org/officeDocument/2006/relationships/slideMaster" Target="slideMasters/slideMaster1.xml" Id="rId1" /><Relationship Type="http://schemas.openxmlformats.org/officeDocument/2006/relationships/slide" Target="slides/slide4.xml" Id="rId6" /><Relationship Type="http://schemas.openxmlformats.org/officeDocument/2006/relationships/slide" Target="slides/slide9.xml" Id="rId11" /><Relationship Type="http://schemas.openxmlformats.org/officeDocument/2006/relationships/tableStyles" Target="tableStyles.xml" Id="rId24" /><Relationship Type="http://schemas.openxmlformats.org/officeDocument/2006/relationships/slide" Target="slides/slide3.xml" Id="rId5" /><Relationship Type="http://schemas.openxmlformats.org/officeDocument/2006/relationships/slide" Target="slides/slide13.xml" Id="rId15" /><Relationship Type="http://schemas.openxmlformats.org/officeDocument/2006/relationships/theme" Target="theme/theme1.xml" Id="rId23" /><Relationship Type="http://schemas.openxmlformats.org/officeDocument/2006/relationships/slide" Target="slides/slide8.xml" Id="rId10" /><Relationship Type="http://schemas.openxmlformats.org/officeDocument/2006/relationships/handoutMaster" Target="handoutMasters/handoutMaster1.xml" Id="rId19" /><Relationship Type="http://schemas.openxmlformats.org/officeDocument/2006/relationships/slide" Target="slides/slide2.xml" Id="rId4" /><Relationship Type="http://schemas.openxmlformats.org/officeDocument/2006/relationships/slide" Target="slides/slide7.xml" Id="rId9" /><Relationship Type="http://schemas.openxmlformats.org/officeDocument/2006/relationships/slide" Target="slides/slide12.xml" Id="rId14" /><Relationship Type="http://schemas.openxmlformats.org/officeDocument/2006/relationships/viewProps" Target="viewProps.xml" Id="rId22" 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A6C9E5F9-6054-4E3C-9040-017E1FF1D5A4}" type="datetimeFigureOut">
              <a:rPr lang="en-US" altLang="en-US"/>
              <a:pPr>
                <a:defRPr/>
              </a:pPr>
              <a:t>1/22/2018</a:t>
            </a:fld>
            <a:endParaRPr lang="en-US" alt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F0F11466-D6E6-4AA4-BFAA-6477DF563CB1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07479728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3550"/>
          </a:xfrm>
          <a:prstGeom prst="rect">
            <a:avLst/>
          </a:prstGeom>
        </p:spPr>
        <p:txBody>
          <a:bodyPr vert="horz" wrap="square" lIns="87786" tIns="43895" rIns="87786" bIns="43895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3550"/>
          </a:xfrm>
          <a:prstGeom prst="rect">
            <a:avLst/>
          </a:prstGeom>
        </p:spPr>
        <p:txBody>
          <a:bodyPr vert="horz" wrap="square" lIns="87786" tIns="43895" rIns="87786" bIns="43895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9AF112A0-7291-4E81-B785-2E31D8DD83BF}" type="datetimeFigureOut">
              <a:rPr lang="en-US" altLang="en-US"/>
              <a:pPr>
                <a:defRPr/>
              </a:pPr>
              <a:t>1/22/2018</a:t>
            </a:fld>
            <a:endParaRPr lang="en-US" alt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2688" y="698500"/>
            <a:ext cx="4645025" cy="3484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7786" tIns="43895" rIns="87786" bIns="43895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16425"/>
            <a:ext cx="5607050" cy="4181475"/>
          </a:xfrm>
          <a:prstGeom prst="rect">
            <a:avLst/>
          </a:prstGeom>
        </p:spPr>
        <p:txBody>
          <a:bodyPr vert="horz" lIns="87786" tIns="43895" rIns="87786" bIns="43895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31263"/>
            <a:ext cx="3038475" cy="463550"/>
          </a:xfrm>
          <a:prstGeom prst="rect">
            <a:avLst/>
          </a:prstGeom>
        </p:spPr>
        <p:txBody>
          <a:bodyPr vert="horz" wrap="square" lIns="87786" tIns="43895" rIns="87786" bIns="43895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31263"/>
            <a:ext cx="3038475" cy="463550"/>
          </a:xfrm>
          <a:prstGeom prst="rect">
            <a:avLst/>
          </a:prstGeom>
        </p:spPr>
        <p:txBody>
          <a:bodyPr vert="horz" wrap="square" lIns="87786" tIns="43895" rIns="87786" bIns="43895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71EF2122-9D89-4199-85DE-576B28A31CF6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70305374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7557810"/>
      </p:ext>
    </p:extLst>
  </p:cSld>
  <p:clrMapOvr>
    <a:masterClrMapping/>
  </p:clrMapOvr>
</p:notes>
</file>

<file path=ppt/notesSlides/notesSlide10.xml><?xml version="1.0" encoding="utf-8"?>
<p:notes xmlns:a14="http://schemas.microsoft.com/office/drawing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lide Image Placeholder 1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</p:spTree>
  </p:cSld>
  <p:clrMapOvr>
    <a:masterClrMapping/>
  </p:clrMapOvr>
</p:notes>
</file>

<file path=ppt/notesSlides/notesSlide11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955326841"/>
      </p:ext>
    </p:extLst>
  </p:cSld>
  <p:clrMapOvr>
    <a:masterClrMapping/>
  </p:clrMapOvr>
</p:notes>
</file>

<file path=ppt/notesSlides/notesSlide12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685311704"/>
      </p:ext>
    </p:extLst>
  </p:cSld>
  <p:clrMapOvr>
    <a:masterClrMapping/>
  </p:clrMapOvr>
</p:notes>
</file>

<file path=ppt/notesSlides/notesSlide13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440178516"/>
      </p:ext>
    </p:extLst>
  </p:cSld>
  <p:clrMapOvr>
    <a:masterClrMapping/>
  </p:clrMapOvr>
</p:notes>
</file>

<file path=ppt/notesSlides/notesSlide14.xml><?xml version="1.0" encoding="utf-8"?>
<p:notes xmlns:a14="http://schemas.microsoft.com/office/drawing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Segnaposto immagin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</p:spTree>
  </p:cSld>
  <p:clrMapOvr>
    <a:masterClrMapping/>
  </p:clrMapOvr>
</p:notes>
</file>

<file path=ppt/notesSlides/notesSlide15.xml><?xml version="1.0" encoding="utf-8"?>
<p:notes xmlns:a14="http://schemas.microsoft.com/office/drawing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Segnaposto immagin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</p:spTree>
  </p:cSld>
  <p:clrMapOvr>
    <a:masterClrMapping/>
  </p:clrMapOvr>
</p:notes>
</file>

<file path=ppt/notesSlides/notesSlide2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338224185"/>
      </p:ext>
    </p:extLst>
  </p:cSld>
  <p:clrMapOvr>
    <a:masterClrMapping/>
  </p:clrMapOvr>
</p:notes>
</file>

<file path=ppt/notesSlides/notesSlide3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4089401013"/>
      </p:ext>
    </p:extLst>
  </p:cSld>
  <p:clrMapOvr>
    <a:masterClrMapping/>
  </p:clrMapOvr>
</p:notes>
</file>

<file path=ppt/notesSlides/notesSlide4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242606512"/>
      </p:ext>
    </p:extLst>
  </p:cSld>
  <p:clrMapOvr>
    <a:masterClrMapping/>
  </p:clrMapOvr>
</p:notes>
</file>

<file path=ppt/notesSlides/notesSlide5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623466201"/>
      </p:ext>
    </p:extLst>
  </p:cSld>
  <p:clrMapOvr>
    <a:masterClrMapping/>
  </p:clrMapOvr>
</p:notes>
</file>

<file path=ppt/notesSlides/notesSlide6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533683711"/>
      </p:ext>
    </p:extLst>
  </p:cSld>
  <p:clrMapOvr>
    <a:masterClrMapping/>
  </p:clrMapOvr>
</p:notes>
</file>

<file path=ppt/notesSlides/notesSlide7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971235836"/>
      </p:ext>
    </p:extLst>
  </p:cSld>
  <p:clrMapOvr>
    <a:masterClrMapping/>
  </p:clrMapOvr>
</p:notes>
</file>

<file path=ppt/notesSlides/notesSlide8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798244899"/>
      </p:ext>
    </p:extLst>
  </p:cSld>
  <p:clrMapOvr>
    <a:masterClrMapping/>
  </p:clrMapOvr>
</p:notes>
</file>

<file path=ppt/notesSlides/notesSlide9.xml><?xml version="1.0" encoding="utf-8"?>
<p:notes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1051989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\\nymark\CS\_Resources\MOFO logos\New Stacked 08_10\PNG\BLACK\MOFO_Firm_Stack_Logo_BLK_med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288" y="650875"/>
            <a:ext cx="1752600" cy="41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 userDrawn="1"/>
        </p:nvSpPr>
        <p:spPr>
          <a:xfrm>
            <a:off x="152400" y="152400"/>
            <a:ext cx="8839200" cy="6553200"/>
          </a:xfrm>
          <a:prstGeom prst="rect">
            <a:avLst/>
          </a:prstGeom>
          <a:noFill/>
          <a:ln w="127000" cmpd="sng">
            <a:solidFill>
              <a:srgbClr val="03419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en-US" altLang="en-US" dirty="0">
              <a:solidFill>
                <a:srgbClr val="FFFFFF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 bwMode="auto">
          <a:xfrm>
            <a:off x="434975" y="2133600"/>
            <a:ext cx="8077200" cy="15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 algn="l">
              <a:lnSpc>
                <a:spcPts val="5000"/>
              </a:lnSpc>
              <a:defRPr sz="4600" b="0" cap="all" baseline="0">
                <a:solidFill>
                  <a:srgbClr val="034193"/>
                </a:solidFill>
                <a:latin typeface="HelveticaNeue LT 97 BlackCn" panose="00000400000000000000" pitchFamily="2" charset="0"/>
              </a:defRPr>
            </a:lvl1pPr>
          </a:lstStyle>
          <a:p>
            <a:r>
              <a:rPr lang="en-US" altLang="en-US"/>
              <a:t>Click to edit Master title style</a:t>
            </a:r>
            <a:endParaRPr lang="en-US" alt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 bwMode="auto">
          <a:xfrm>
            <a:off x="417870" y="3886200"/>
            <a:ext cx="7086600" cy="990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>
              <a:buFontTx/>
              <a:buNone/>
              <a:defRPr sz="2800">
                <a:solidFill>
                  <a:srgbClr val="0D5EB6"/>
                </a:solidFill>
                <a:latin typeface="HelveticaNeue LT 67 MdCn" panose="020B0606030502030204" pitchFamily="34" charset="0"/>
              </a:defRPr>
            </a:lvl1pPr>
          </a:lstStyle>
          <a:p>
            <a:r>
              <a:rPr lang="en-US" altLang="en-US"/>
              <a:t>Click to edit Master subtitle style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1736555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1D0BEBD-6114-4042-8DE0-2244D19895E9}" type="slidenum">
              <a:rPr lang="it-IT" altLang="it-IT"/>
              <a:pPr/>
              <a:t>‹#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15325043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40F24F-6A4B-4066-A1F1-232C98FE725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80279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40F24F-6A4B-4066-A1F1-232C98FE725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95545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40F24F-6A4B-4066-A1F1-232C98FE725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082129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40F24F-6A4B-4066-A1F1-232C98FE725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01383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40F24F-6A4B-4066-A1F1-232C98FE725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88648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40F24F-6A4B-4066-A1F1-232C98FE725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11657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40F24F-6A4B-4066-A1F1-232C98FE725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63129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40F24F-6A4B-4066-A1F1-232C98FE725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364611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40F24F-6A4B-4066-A1F1-232C98FE725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53628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Placeholder 9"/>
          <p:cNvSpPr>
            <a:spLocks noGrp="1"/>
          </p:cNvSpPr>
          <p:nvPr>
            <p:ph type="title"/>
          </p:nvPr>
        </p:nvSpPr>
        <p:spPr>
          <a:xfrm>
            <a:off x="457200" y="533400"/>
            <a:ext cx="8229600" cy="707886"/>
          </a:xfrm>
          <a:prstGeom prst="rect">
            <a:avLst/>
          </a:prstGeom>
        </p:spPr>
        <p:txBody>
          <a:bodyPr rtlCol="0">
            <a:normAutofit/>
          </a:bodyPr>
          <a:lstStyle>
            <a:lvl1pPr algn="l">
              <a:defRPr b="0" baseline="0">
                <a:solidFill>
                  <a:srgbClr val="034193"/>
                </a:solidFill>
                <a:latin typeface="HelveticaNeue LT 67 MdCn" panose="020004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Line 24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533400" y="1320800"/>
            <a:ext cx="8067675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527965" y="6356350"/>
            <a:ext cx="2895600" cy="365125"/>
          </a:xfrm>
        </p:spPr>
        <p:txBody>
          <a:bodyPr/>
          <a:lstStyle>
            <a:lvl1pPr algn="r">
              <a:defRPr sz="1100"/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71165" y="6356350"/>
            <a:ext cx="533400" cy="365125"/>
          </a:xfrm>
        </p:spPr>
        <p:txBody>
          <a:bodyPr/>
          <a:lstStyle/>
          <a:p>
            <a:pPr>
              <a:defRPr/>
            </a:pPr>
            <a:fld id="{437A53D6-CFD5-485D-A1E8-57C7338961C7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3"/>
          </p:nvPr>
        </p:nvSpPr>
        <p:spPr>
          <a:xfrm>
            <a:off x="440574" y="6356350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pPr>
              <a:defRPr/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5879557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40F24F-6A4B-4066-A1F1-232C98FE725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8396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40F24F-6A4B-4066-A1F1-232C98FE725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96703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out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\\nymark\CS\_Resources\MOFO logos\New Stacked 08_10\PNG\BLACK\MOFO_Firm_Stack_Logo_BLK_med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288" y="650875"/>
            <a:ext cx="1752600" cy="41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ubtitle 2"/>
          <p:cNvSpPr>
            <a:spLocks noGrp="1"/>
          </p:cNvSpPr>
          <p:nvPr>
            <p:ph type="subTitle" idx="1"/>
          </p:nvPr>
        </p:nvSpPr>
        <p:spPr bwMode="auto">
          <a:xfrm>
            <a:off x="417870" y="3886200"/>
            <a:ext cx="7086600" cy="990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>
              <a:buFontTx/>
              <a:buNone/>
              <a:defRPr sz="2800">
                <a:solidFill>
                  <a:srgbClr val="0D5EB6"/>
                </a:solidFill>
                <a:latin typeface="HelveticaNeue LT 67 MdCn" panose="020B0606030502030204" pitchFamily="34" charset="0"/>
              </a:defRPr>
            </a:lvl1pPr>
          </a:lstStyle>
          <a:p>
            <a:r>
              <a:rPr lang="en-US" altLang="en-US"/>
              <a:t>Click to edit Master subtitle style</a:t>
            </a:r>
            <a:endParaRPr lang="en-US" altLang="en-US" dirty="0"/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auto">
          <a:xfrm>
            <a:off x="434975" y="2133600"/>
            <a:ext cx="8077200" cy="15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 algn="l">
              <a:lnSpc>
                <a:spcPts val="5000"/>
              </a:lnSpc>
              <a:defRPr sz="4600" b="0" cap="all" baseline="0">
                <a:solidFill>
                  <a:srgbClr val="034193"/>
                </a:solidFill>
                <a:latin typeface="HelveticaNeue LT 97 BlackCn" panose="00000400000000000000" pitchFamily="2" charset="0"/>
              </a:defRPr>
            </a:lvl1pPr>
          </a:lstStyle>
          <a:p>
            <a:r>
              <a:rPr lang="en-US" altLang="en-US"/>
              <a:t>Click to edit Master title style</a:t>
            </a:r>
            <a:endParaRPr lang="en-US" altLang="en-US" dirty="0"/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5943600"/>
            <a:ext cx="2133600" cy="365125"/>
          </a:xfrm>
        </p:spPr>
        <p:txBody>
          <a:bodyPr/>
          <a:lstStyle>
            <a:lvl1pPr>
              <a:defRPr dirty="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4070883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Image Background">
    <p:bg>
      <p:bgPr>
        <a:blipFill dpi="0" rotWithShape="1">
          <a:blip r:embed="rId2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auto">
          <a:xfrm>
            <a:off x="417870" y="3886200"/>
            <a:ext cx="7086600" cy="990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>
              <a:buFontTx/>
              <a:buNone/>
              <a:defRPr sz="2800">
                <a:solidFill>
                  <a:schemeClr val="bg1"/>
                </a:solidFill>
                <a:latin typeface="HelveticaNeue LT 67 MdCn" panose="020B0606030502030204" pitchFamily="34" charset="0"/>
              </a:defRPr>
            </a:lvl1pPr>
          </a:lstStyle>
          <a:p>
            <a:r>
              <a:rPr lang="en-US" altLang="en-US"/>
              <a:t>Click to edit Master subtitle style</a:t>
            </a:r>
            <a:endParaRPr lang="en-US" altLang="en-US" dirty="0"/>
          </a:p>
        </p:txBody>
      </p:sp>
      <p:sp>
        <p:nvSpPr>
          <p:cNvPr id="12" name="Title 1"/>
          <p:cNvSpPr>
            <a:spLocks noGrp="1"/>
          </p:cNvSpPr>
          <p:nvPr>
            <p:ph type="ctrTitle"/>
          </p:nvPr>
        </p:nvSpPr>
        <p:spPr bwMode="auto">
          <a:xfrm>
            <a:off x="434975" y="2133600"/>
            <a:ext cx="8077200" cy="15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 algn="l">
              <a:lnSpc>
                <a:spcPts val="5000"/>
              </a:lnSpc>
              <a:defRPr sz="4600" b="0" cap="all" baseline="0">
                <a:solidFill>
                  <a:schemeClr val="bg1"/>
                </a:solidFill>
                <a:latin typeface="HelveticaNeue LT 97 BlackCn" panose="00000400000000000000" pitchFamily="2" charset="0"/>
              </a:defRPr>
            </a:lvl1pPr>
          </a:lstStyle>
          <a:p>
            <a:r>
              <a:rPr lang="en-US" altLang="en-US"/>
              <a:t>Click to edit Master title style</a:t>
            </a:r>
            <a:endParaRPr lang="en-US" altLang="en-US" dirty="0"/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5943600"/>
            <a:ext cx="2133600" cy="365125"/>
          </a:xfrm>
        </p:spPr>
        <p:txBody>
          <a:bodyPr/>
          <a:lstStyle>
            <a:lvl1pPr>
              <a:defRPr dirty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pic>
        <p:nvPicPr>
          <p:cNvPr id="8" name="Picture 2" descr="\\sfmark\CreativeService\CS\_Resources\MOFO logos\_Firm_Stacked_Logo\White\PNG\MOFO_Firm_Stack_Logo_WHITE_lrg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627" y="641016"/>
            <a:ext cx="1781695" cy="4230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017511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with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\\nymark\CS\_Resources\MOFO logos\New Stacked 08_10\PNG\BLACK\MOFO_Firm_Stack_Logo_BLK_med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0575" y="3135313"/>
            <a:ext cx="2482850" cy="58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/>
          <p:nvPr userDrawn="1"/>
        </p:nvSpPr>
        <p:spPr>
          <a:xfrm>
            <a:off x="152400" y="152400"/>
            <a:ext cx="8839200" cy="6553200"/>
          </a:xfrm>
          <a:prstGeom prst="rect">
            <a:avLst/>
          </a:prstGeom>
          <a:noFill/>
          <a:ln w="127000" cmpd="sng">
            <a:solidFill>
              <a:srgbClr val="03419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en-US" alt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77658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without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\\nymark\CS\_Resources\MOFO logos\New Stacked 08_10\PNG\BLACK\MOFO_Firm_Stack_Logo_BLK_med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0575" y="3135313"/>
            <a:ext cx="2482850" cy="58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307803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with Background Image">
    <p:bg>
      <p:bgPr>
        <a:blipFill dpi="0" rotWithShape="1">
          <a:blip r:embed="rId2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\\sfmark\CreativeService\CS\_Resources\MOFO logos\_Firm_Stacked_Logo\White\PNG\MOFO_Firm_Stack_Logo_WHITE_lrg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0575" y="3135312"/>
            <a:ext cx="2473968" cy="587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112023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32652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189889"/>
            <a:ext cx="70866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Segoe UI"/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Segoe UI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Segoe UI"/>
              </a:defRPr>
            </a:lvl1pPr>
          </a:lstStyle>
          <a:p>
            <a:fld id="{FD0CF2A8-0F06-0B4F-A023-17698AFBF42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0" y="1"/>
            <a:ext cx="9144000" cy="5617436"/>
          </a:xfrm>
          <a:prstGeom prst="rect">
            <a:avLst/>
          </a:prstGeom>
          <a:blipFill dpi="0" rotWithShape="1">
            <a:blip r:embed="rId2">
              <a:alphaModFix amt="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b="-35650"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9"/>
          <p:cNvSpPr/>
          <p:nvPr userDrawn="1"/>
        </p:nvSpPr>
        <p:spPr>
          <a:xfrm>
            <a:off x="-6195" y="4965279"/>
            <a:ext cx="9150195" cy="1908588"/>
          </a:xfrm>
          <a:custGeom>
            <a:avLst/>
            <a:gdLst>
              <a:gd name="connsiteX0" fmla="*/ 0 w 9144000"/>
              <a:gd name="connsiteY0" fmla="*/ 0 h 1762512"/>
              <a:gd name="connsiteX1" fmla="*/ 9144000 w 9144000"/>
              <a:gd name="connsiteY1" fmla="*/ 0 h 1762512"/>
              <a:gd name="connsiteX2" fmla="*/ 9144000 w 9144000"/>
              <a:gd name="connsiteY2" fmla="*/ 1762512 h 1762512"/>
              <a:gd name="connsiteX3" fmla="*/ 0 w 9144000"/>
              <a:gd name="connsiteY3" fmla="*/ 1762512 h 1762512"/>
              <a:gd name="connsiteX4" fmla="*/ 0 w 9144000"/>
              <a:gd name="connsiteY4" fmla="*/ 0 h 1762512"/>
              <a:gd name="connsiteX0" fmla="*/ 80537 w 9144000"/>
              <a:gd name="connsiteY0" fmla="*/ 613317 h 1762512"/>
              <a:gd name="connsiteX1" fmla="*/ 9144000 w 9144000"/>
              <a:gd name="connsiteY1" fmla="*/ 0 h 1762512"/>
              <a:gd name="connsiteX2" fmla="*/ 9144000 w 9144000"/>
              <a:gd name="connsiteY2" fmla="*/ 1762512 h 1762512"/>
              <a:gd name="connsiteX3" fmla="*/ 0 w 9144000"/>
              <a:gd name="connsiteY3" fmla="*/ 1762512 h 1762512"/>
              <a:gd name="connsiteX4" fmla="*/ 80537 w 9144000"/>
              <a:gd name="connsiteY4" fmla="*/ 613317 h 1762512"/>
              <a:gd name="connsiteX0" fmla="*/ 0 w 9150195"/>
              <a:gd name="connsiteY0" fmla="*/ 229219 h 1762512"/>
              <a:gd name="connsiteX1" fmla="*/ 9150195 w 9150195"/>
              <a:gd name="connsiteY1" fmla="*/ 0 h 1762512"/>
              <a:gd name="connsiteX2" fmla="*/ 9150195 w 9150195"/>
              <a:gd name="connsiteY2" fmla="*/ 1762512 h 1762512"/>
              <a:gd name="connsiteX3" fmla="*/ 6195 w 9150195"/>
              <a:gd name="connsiteY3" fmla="*/ 1762512 h 1762512"/>
              <a:gd name="connsiteX4" fmla="*/ 0 w 9150195"/>
              <a:gd name="connsiteY4" fmla="*/ 229219 h 1762512"/>
              <a:gd name="connsiteX0" fmla="*/ 0 w 9150195"/>
              <a:gd name="connsiteY0" fmla="*/ 229219 h 1762512"/>
              <a:gd name="connsiteX1" fmla="*/ 4161872 w 9150195"/>
              <a:gd name="connsiteY1" fmla="*/ 125335 h 1762512"/>
              <a:gd name="connsiteX2" fmla="*/ 9150195 w 9150195"/>
              <a:gd name="connsiteY2" fmla="*/ 0 h 1762512"/>
              <a:gd name="connsiteX3" fmla="*/ 9150195 w 9150195"/>
              <a:gd name="connsiteY3" fmla="*/ 1762512 h 1762512"/>
              <a:gd name="connsiteX4" fmla="*/ 6195 w 9150195"/>
              <a:gd name="connsiteY4" fmla="*/ 1762512 h 1762512"/>
              <a:gd name="connsiteX5" fmla="*/ 0 w 9150195"/>
              <a:gd name="connsiteY5" fmla="*/ 229219 h 1762512"/>
              <a:gd name="connsiteX0" fmla="*/ 0 w 9150195"/>
              <a:gd name="connsiteY0" fmla="*/ 229219 h 1762512"/>
              <a:gd name="connsiteX1" fmla="*/ 3997718 w 9150195"/>
              <a:gd name="connsiteY1" fmla="*/ 1252784 h 1762512"/>
              <a:gd name="connsiteX2" fmla="*/ 9150195 w 9150195"/>
              <a:gd name="connsiteY2" fmla="*/ 0 h 1762512"/>
              <a:gd name="connsiteX3" fmla="*/ 9150195 w 9150195"/>
              <a:gd name="connsiteY3" fmla="*/ 1762512 h 1762512"/>
              <a:gd name="connsiteX4" fmla="*/ 6195 w 9150195"/>
              <a:gd name="connsiteY4" fmla="*/ 1762512 h 1762512"/>
              <a:gd name="connsiteX5" fmla="*/ 0 w 9150195"/>
              <a:gd name="connsiteY5" fmla="*/ 229219 h 1762512"/>
              <a:gd name="connsiteX0" fmla="*/ 0 w 9150195"/>
              <a:gd name="connsiteY0" fmla="*/ 229219 h 1762512"/>
              <a:gd name="connsiteX1" fmla="*/ 3086234 w 9150195"/>
              <a:gd name="connsiteY1" fmla="*/ 475233 h 1762512"/>
              <a:gd name="connsiteX2" fmla="*/ 9150195 w 9150195"/>
              <a:gd name="connsiteY2" fmla="*/ 0 h 1762512"/>
              <a:gd name="connsiteX3" fmla="*/ 9150195 w 9150195"/>
              <a:gd name="connsiteY3" fmla="*/ 1762512 h 1762512"/>
              <a:gd name="connsiteX4" fmla="*/ 6195 w 9150195"/>
              <a:gd name="connsiteY4" fmla="*/ 1762512 h 1762512"/>
              <a:gd name="connsiteX5" fmla="*/ 0 w 9150195"/>
              <a:gd name="connsiteY5" fmla="*/ 229219 h 1762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50195" h="1762512">
                <a:moveTo>
                  <a:pt x="0" y="229219"/>
                </a:moveTo>
                <a:lnTo>
                  <a:pt x="3086234" y="475233"/>
                </a:lnTo>
                <a:lnTo>
                  <a:pt x="9150195" y="0"/>
                </a:lnTo>
                <a:lnTo>
                  <a:pt x="9150195" y="1762512"/>
                </a:lnTo>
                <a:lnTo>
                  <a:pt x="6195" y="1762512"/>
                </a:lnTo>
                <a:lnTo>
                  <a:pt x="0" y="229219"/>
                </a:lnTo>
                <a:close/>
              </a:path>
            </a:pathLst>
          </a:custGeom>
          <a:solidFill>
            <a:srgbClr val="16446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>
              <a:effectLst/>
              <a:latin typeface="Segoe UI"/>
            </a:endParaRPr>
          </a:p>
        </p:txBody>
      </p:sp>
      <p:pic>
        <p:nvPicPr>
          <p:cNvPr id="14" name="Picture 13" descr="USPTO-logo-reverse-stacked-500px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6600" y="5522736"/>
            <a:ext cx="1656803" cy="883641"/>
          </a:xfrm>
          <a:prstGeom prst="rect">
            <a:avLst/>
          </a:prstGeom>
        </p:spPr>
      </p:pic>
      <p:sp>
        <p:nvSpPr>
          <p:cNvPr id="15" name="Rectangle 9"/>
          <p:cNvSpPr/>
          <p:nvPr userDrawn="1"/>
        </p:nvSpPr>
        <p:spPr>
          <a:xfrm>
            <a:off x="-815" y="0"/>
            <a:ext cx="9144000" cy="504029"/>
          </a:xfrm>
          <a:custGeom>
            <a:avLst/>
            <a:gdLst>
              <a:gd name="connsiteX0" fmla="*/ 0 w 9144000"/>
              <a:gd name="connsiteY0" fmla="*/ 0 h 242186"/>
              <a:gd name="connsiteX1" fmla="*/ 9144000 w 9144000"/>
              <a:gd name="connsiteY1" fmla="*/ 0 h 242186"/>
              <a:gd name="connsiteX2" fmla="*/ 9144000 w 9144000"/>
              <a:gd name="connsiteY2" fmla="*/ 242186 h 242186"/>
              <a:gd name="connsiteX3" fmla="*/ 0 w 9144000"/>
              <a:gd name="connsiteY3" fmla="*/ 242186 h 242186"/>
              <a:gd name="connsiteX4" fmla="*/ 0 w 9144000"/>
              <a:gd name="connsiteY4" fmla="*/ 0 h 242186"/>
              <a:gd name="connsiteX0" fmla="*/ 0 w 9144000"/>
              <a:gd name="connsiteY0" fmla="*/ 0 h 472558"/>
              <a:gd name="connsiteX1" fmla="*/ 9144000 w 9144000"/>
              <a:gd name="connsiteY1" fmla="*/ 0 h 472558"/>
              <a:gd name="connsiteX2" fmla="*/ 9144000 w 9144000"/>
              <a:gd name="connsiteY2" fmla="*/ 242186 h 472558"/>
              <a:gd name="connsiteX3" fmla="*/ 6119628 w 9144000"/>
              <a:gd name="connsiteY3" fmla="*/ 472558 h 472558"/>
              <a:gd name="connsiteX4" fmla="*/ 0 w 9144000"/>
              <a:gd name="connsiteY4" fmla="*/ 0 h 4725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0" h="472558">
                <a:moveTo>
                  <a:pt x="0" y="0"/>
                </a:moveTo>
                <a:lnTo>
                  <a:pt x="9144000" y="0"/>
                </a:lnTo>
                <a:lnTo>
                  <a:pt x="9144000" y="242186"/>
                </a:lnTo>
                <a:lnTo>
                  <a:pt x="6119628" y="472558"/>
                </a:lnTo>
                <a:lnTo>
                  <a:pt x="0" y="0"/>
                </a:lnTo>
                <a:close/>
              </a:path>
            </a:pathLst>
          </a:custGeom>
          <a:solidFill>
            <a:srgbClr val="16446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>
              <a:effectLst/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7533618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1258" y="453627"/>
            <a:ext cx="8882743" cy="1060869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737101"/>
            <a:ext cx="8229600" cy="4017587"/>
          </a:xfrm>
        </p:spPr>
        <p:txBody>
          <a:bodyPr/>
          <a:lstStyle>
            <a:lvl1pPr>
              <a:defRPr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DA454B-C859-4892-B9FA-68B588C9F54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64373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slideMaster1.xml><?xml version="1.0" encoding="utf-8"?>
<p:sldMaster xmlns:a14="http://schemas.microsoft.com/office/drawing/2010/main"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Georgia" panose="02040502050405020303" pitchFamily="18" charset="0"/>
              </a:defRPr>
            </a:lvl1pPr>
          </a:lstStyle>
          <a:p>
            <a:pPr>
              <a:defRPr/>
            </a:pPr>
            <a:fld id="{437A53D6-CFD5-485D-A1E8-57C7338961C7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530352"/>
            <a:ext cx="8229600" cy="704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alt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527048"/>
            <a:ext cx="8229600" cy="4599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US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04" r:id="rId1"/>
    <p:sldLayoutId id="2147484123" r:id="rId2"/>
    <p:sldLayoutId id="2147484105" r:id="rId3"/>
    <p:sldLayoutId id="2147484106" r:id="rId4"/>
    <p:sldLayoutId id="2147484108" r:id="rId5"/>
    <p:sldLayoutId id="2147484109" r:id="rId6"/>
    <p:sldLayoutId id="2147484126" r:id="rId7"/>
    <p:sldLayoutId id="2147484131" r:id="rId8"/>
    <p:sldLayoutId id="2147484132" r:id="rId9"/>
    <p:sldLayoutId id="2147484133" r:id="rId10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4400" kern="1200">
          <a:solidFill>
            <a:srgbClr val="034193"/>
          </a:solidFill>
          <a:latin typeface="HelveticaNeue LT 67 MdCn" panose="020B0606030502030204" pitchFamily="34" charset="0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228600" indent="-228600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1pPr>
      <a:lvl2pPr marL="630936" indent="-173736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2pPr>
      <a:lvl3pPr marL="1033272" indent="-118872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3pPr>
      <a:lvl4pPr marL="1490472" indent="-118872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4pPr>
      <a:lvl5pPr marL="1938528" indent="-109728" algn="l" rtl="0" eaLnBrk="1" fontAlgn="base" hangingPunct="1">
        <a:spcBef>
          <a:spcPts val="336"/>
        </a:spcBef>
        <a:spcAft>
          <a:spcPct val="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40F24F-6A4B-4066-A1F1-232C98FE725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17102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2" r:id="rId1"/>
    <p:sldLayoutId id="2147484113" r:id="rId2"/>
    <p:sldLayoutId id="2147484114" r:id="rId3"/>
    <p:sldLayoutId id="2147484115" r:id="rId4"/>
    <p:sldLayoutId id="2147484116" r:id="rId5"/>
    <p:sldLayoutId id="2147484117" r:id="rId6"/>
    <p:sldLayoutId id="2147484118" r:id="rId7"/>
    <p:sldLayoutId id="2147484119" r:id="rId8"/>
    <p:sldLayoutId id="2147484120" r:id="rId9"/>
    <p:sldLayoutId id="2147484121" r:id="rId10"/>
    <p:sldLayoutId id="2147484122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jpe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/Relationships>
</file>

<file path=ppt/slides/slide1.xml><?xml version="1.0" encoding="utf-8"?>
<p:sld xmlns:a14="http://schemas.microsoft.com/office/drawing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 descr="" titl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 descr="" title=""/>
          <p:cNvSpPr>
            <a:spLocks noGrp="1"/>
          </p:cNvSpPr>
          <p:nvPr>
            <p:ph type="ctrTitle"/>
          </p:nvPr>
        </p:nvSpPr>
        <p:spPr>
          <a:xfrm>
            <a:off x="440506" y="2171700"/>
            <a:ext cx="8077200" cy="1524000"/>
          </a:xfrm>
        </p:spPr>
        <p:txBody>
          <a:bodyPr/>
          <a:lstStyle/>
          <a:p>
            <a:pPr algn="ctr">
              <a:defRPr/>
            </a:pPr>
            <a:r>
              <a:rPr lang="en-US" dirty="0" smtClean="0"/>
              <a:t>Comparing subject matter eligibility in us and </a:t>
            </a:r>
            <a:r>
              <a:rPr lang="en-US" dirty="0" err="1" smtClean="0"/>
              <a:t>eu</a:t>
            </a:r>
            <a:endParaRPr lang="en-US" dirty="0"/>
          </a:p>
        </p:txBody>
      </p:sp>
      <p:sp>
        <p:nvSpPr>
          <p:cNvPr id="9219" name="Subtitle 2" descr="" title=""/>
          <p:cNvSpPr>
            <a:spLocks noGrp="1"/>
          </p:cNvSpPr>
          <p:nvPr>
            <p:ph type="subTitle" idx="1"/>
          </p:nvPr>
        </p:nvSpPr>
        <p:spPr>
          <a:xfrm>
            <a:off x="1198966" y="4572000"/>
            <a:ext cx="7292975" cy="990600"/>
          </a:xfrm>
        </p:spPr>
        <p:txBody>
          <a:bodyPr/>
          <a:lstStyle/>
          <a:p>
            <a:pPr algn="r"/>
            <a:r>
              <a:rPr lang="en-US" sz="2000" dirty="0" smtClean="0"/>
              <a:t>John Cabeca, Director, Silicon Valley USPTO</a:t>
            </a:r>
            <a:endParaRPr lang="en-US" sz="2000" dirty="0"/>
          </a:p>
          <a:p>
            <a:pPr lvl="0" algn="r"/>
            <a:r>
              <a:rPr lang="en-US" sz="2000" dirty="0" smtClean="0"/>
              <a:t>Milan Kapadia, Patent Portfolio Manager, Boeing </a:t>
            </a:r>
            <a:endParaRPr lang="en-US" sz="2000" dirty="0"/>
          </a:p>
          <a:p>
            <a:pPr algn="r"/>
            <a:r>
              <a:rPr lang="en-US" sz="2000" dirty="0" smtClean="0"/>
              <a:t>Sandro Sandri, Partner</a:t>
            </a:r>
            <a:r>
              <a:rPr lang="en-US" sz="2000" dirty="0"/>
              <a:t>, </a:t>
            </a:r>
            <a:r>
              <a:rPr lang="en-US" sz="2000" dirty="0" smtClean="0"/>
              <a:t>Bugnion</a:t>
            </a:r>
          </a:p>
          <a:p>
            <a:pPr lvl="0" algn="r"/>
            <a:r>
              <a:rPr lang="en-US" sz="2000" dirty="0"/>
              <a:t>Alexander Schlee, Partner, Schlee </a:t>
            </a:r>
            <a:r>
              <a:rPr lang="en-US" sz="2000" dirty="0" smtClean="0"/>
              <a:t>IP</a:t>
            </a:r>
          </a:p>
          <a:p>
            <a:pPr algn="r"/>
            <a:r>
              <a:rPr lang="en-US" sz="2000" dirty="0" smtClean="0"/>
              <a:t>Jonathan Statman, Associate, Morrison &amp; </a:t>
            </a:r>
            <a:r>
              <a:rPr lang="en-US" sz="2000" dirty="0" err="1" smtClean="0"/>
              <a:t>Foerster</a:t>
            </a:r>
            <a:endParaRPr lang="en-US" sz="2000" dirty="0"/>
          </a:p>
          <a:p>
            <a:pPr lvl="0" algn="r"/>
            <a:endParaRPr lang="en-US" dirty="0"/>
          </a:p>
          <a:p>
            <a:pPr algn="r"/>
            <a:endParaRPr lang="en-US" altLang="en-US" dirty="0">
              <a:latin typeface="HelveticaNeue LT 67 MdCn" pitchFamily="2" charset="0"/>
            </a:endParaRPr>
          </a:p>
        </p:txBody>
      </p:sp>
      <p:sp>
        <p:nvSpPr>
          <p:cNvPr id="9220" name="TextBox 3" descr="" title=""/>
          <p:cNvSpPr txBox="1">
            <a:spLocks noChangeArrowheads="1"/>
          </p:cNvSpPr>
          <p:nvPr/>
        </p:nvSpPr>
        <p:spPr bwMode="auto">
          <a:xfrm>
            <a:off x="414193" y="6096000"/>
            <a:ext cx="367982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en-US" sz="1600" dirty="0">
                <a:latin typeface="Georgia" pitchFamily="18" charset="0"/>
              </a:rPr>
              <a:t>January 25, 2018</a:t>
            </a:r>
          </a:p>
        </p:txBody>
      </p:sp>
      <p:pic>
        <p:nvPicPr>
          <p:cNvPr id="1028" name="Picture 4" descr="" title="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9000" y="246771"/>
            <a:ext cx="2117336" cy="1058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" title="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190" y="491807"/>
            <a:ext cx="1756210" cy="597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" title="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7600" y="532745"/>
            <a:ext cx="1414478" cy="4735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 descr="" title=""/>
          <p:cNvSpPr/>
          <p:nvPr/>
        </p:nvSpPr>
        <p:spPr>
          <a:xfrm>
            <a:off x="533400" y="492079"/>
            <a:ext cx="1828800" cy="70698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32" name="Picture 8" descr="" title="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451613"/>
            <a:ext cx="936060" cy="11094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1" name="Picture 7" descr="" title="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5400" y="532745"/>
            <a:ext cx="2096989" cy="486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0.xml><?xml version="1.0" encoding="utf-8"?>
<p:sld xmlns:a14="http://schemas.microsoft.com/office/drawing/2010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 descr="" titl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1" descr="" title="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>
                <a:ea typeface="ＭＳ Ｐゴシック" pitchFamily="34" charset="-128"/>
              </a:rPr>
              <a:t>Statutory Subject Matter</a:t>
            </a:r>
          </a:p>
        </p:txBody>
      </p:sp>
      <p:sp>
        <p:nvSpPr>
          <p:cNvPr id="4099" name="Content Placeholder 2" descr="" title="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5000"/>
              </a:lnSpc>
              <a:spcBef>
                <a:spcPct val="5000"/>
              </a:spcBef>
            </a:pPr>
            <a:r>
              <a:rPr lang="de-DE" altLang="en-US" b="1" dirty="0" smtClean="0">
                <a:solidFill>
                  <a:srgbClr val="9E0F1E"/>
                </a:solidFill>
                <a:ea typeface="ＭＳ Ｐゴシック" pitchFamily="34" charset="-128"/>
              </a:rPr>
              <a:t>Article 52 (1) EPC</a:t>
            </a:r>
            <a:r>
              <a:rPr lang="de-DE" altLang="en-US" dirty="0" smtClean="0">
                <a:ea typeface="ＭＳ Ｐゴシック" pitchFamily="34" charset="-128"/>
              </a:rPr>
              <a:t>	</a:t>
            </a:r>
          </a:p>
          <a:p>
            <a:pPr>
              <a:spcBef>
                <a:spcPct val="0"/>
              </a:spcBef>
              <a:buClrTx/>
              <a:buSzTx/>
              <a:buFont typeface="Wingdings" pitchFamily="2" charset="2"/>
              <a:buNone/>
            </a:pPr>
            <a:r>
              <a:rPr lang="de-DE" altLang="en-US" dirty="0" smtClean="0">
                <a:ea typeface="ＭＳ Ｐゴシック" pitchFamily="34" charset="-128"/>
              </a:rPr>
              <a:t>	European patents shall be </a:t>
            </a:r>
            <a:r>
              <a:rPr lang="de-DE" altLang="en-US" b="1" dirty="0" smtClean="0">
                <a:ea typeface="ＭＳ Ｐゴシック" pitchFamily="34" charset="-128"/>
              </a:rPr>
              <a:t>granted for any inventions, </a:t>
            </a:r>
            <a:r>
              <a:rPr lang="en-US" altLang="en-US" b="1" dirty="0" smtClean="0">
                <a:ea typeface="ＭＳ Ｐゴシック" pitchFamily="34" charset="-128"/>
              </a:rPr>
              <a:t>in all fields of technology</a:t>
            </a:r>
            <a:r>
              <a:rPr lang="en-US" altLang="en-US" dirty="0" smtClean="0">
                <a:ea typeface="ＭＳ Ｐゴシック" pitchFamily="34" charset="-128"/>
              </a:rPr>
              <a:t>, provided that they are new, involve an inventive step and are susceptible of</a:t>
            </a:r>
            <a:r>
              <a:rPr lang="de-DE" altLang="en-US" dirty="0" smtClean="0">
                <a:ea typeface="ＭＳ Ｐゴシック" pitchFamily="34" charset="-128"/>
              </a:rPr>
              <a:t> industrial application.</a:t>
            </a:r>
            <a:endParaRPr lang="de-DE" altLang="de-DE" b="1" dirty="0" smtClean="0">
              <a:solidFill>
                <a:srgbClr val="9E0F1E"/>
              </a:solidFill>
              <a:ea typeface="ＭＳ Ｐゴシック" pitchFamily="34" charset="-128"/>
            </a:endParaRPr>
          </a:p>
          <a:p>
            <a:pPr>
              <a:lnSpc>
                <a:spcPct val="105000"/>
              </a:lnSpc>
              <a:spcBef>
                <a:spcPct val="5000"/>
              </a:spcBef>
            </a:pPr>
            <a:r>
              <a:rPr lang="de-DE" altLang="de-DE" b="1" dirty="0" smtClean="0">
                <a:solidFill>
                  <a:srgbClr val="9E0F1E"/>
                </a:solidFill>
                <a:ea typeface="ＭＳ Ｐゴシック" pitchFamily="34" charset="-128"/>
              </a:rPr>
              <a:t>Article 52 (2) EPC</a:t>
            </a:r>
            <a:r>
              <a:rPr lang="de-DE" altLang="de-DE" dirty="0" smtClean="0">
                <a:ea typeface="ＭＳ Ｐゴシック" pitchFamily="34" charset="-128"/>
              </a:rPr>
              <a:t>	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dirty="0" smtClean="0">
                <a:ea typeface="ＭＳ Ｐゴシック" pitchFamily="34" charset="-128"/>
              </a:rPr>
              <a:t>	The following in particular shall </a:t>
            </a:r>
            <a:r>
              <a:rPr lang="de-DE" altLang="de-DE" b="1" dirty="0" smtClean="0">
                <a:ea typeface="ＭＳ Ｐゴシック" pitchFamily="34" charset="-128"/>
              </a:rPr>
              <a:t>not be regarded as inventions</a:t>
            </a:r>
            <a:r>
              <a:rPr lang="de-DE" altLang="de-DE" dirty="0" smtClean="0">
                <a:ea typeface="ＭＳ Ｐゴシック" pitchFamily="34" charset="-128"/>
              </a:rPr>
              <a:t>…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b="1" dirty="0" smtClean="0">
                <a:ea typeface="ＭＳ Ｐゴシック" pitchFamily="34" charset="-128"/>
              </a:rPr>
              <a:t>	</a:t>
            </a:r>
            <a:r>
              <a:rPr lang="en-US" altLang="de-DE" dirty="0" smtClean="0">
                <a:ea typeface="ＭＳ Ｐゴシック" pitchFamily="34" charset="-128"/>
              </a:rPr>
              <a:t>(a) discoveries, scientific theories and mathematical methods;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de-DE" dirty="0" smtClean="0">
                <a:ea typeface="ＭＳ Ｐゴシック" pitchFamily="34" charset="-128"/>
              </a:rPr>
              <a:t>	(b) aesthetic creations;</a:t>
            </a:r>
          </a:p>
          <a:p>
            <a:pPr eaLnBrk="1" hangingPunct="1">
              <a:spcBef>
                <a:spcPct val="0"/>
              </a:spcBef>
              <a:buClrTx/>
              <a:buSzTx/>
              <a:buFont typeface="Wingdings" pitchFamily="2" charset="2"/>
              <a:buNone/>
            </a:pPr>
            <a:r>
              <a:rPr lang="en-US" altLang="de-DE" dirty="0" smtClean="0">
                <a:ea typeface="ＭＳ Ｐゴシック" pitchFamily="34" charset="-128"/>
              </a:rPr>
              <a:t>	(c) </a:t>
            </a:r>
            <a:r>
              <a:rPr lang="en-US" altLang="de-DE" b="1" u="sng" dirty="0" smtClean="0">
                <a:ea typeface="ＭＳ Ｐゴシック" pitchFamily="34" charset="-128"/>
              </a:rPr>
              <a:t>schemes, rules and methods</a:t>
            </a:r>
            <a:r>
              <a:rPr lang="en-US" altLang="de-DE" u="sng" dirty="0" smtClean="0">
                <a:ea typeface="ＭＳ Ｐゴシック" pitchFamily="34" charset="-128"/>
              </a:rPr>
              <a:t> </a:t>
            </a:r>
            <a:r>
              <a:rPr lang="en-US" altLang="de-DE" dirty="0" smtClean="0">
                <a:ea typeface="ＭＳ Ｐゴシック" pitchFamily="34" charset="-128"/>
              </a:rPr>
              <a:t>for performing mental acts, playing games or </a:t>
            </a:r>
            <a:r>
              <a:rPr lang="en-US" altLang="de-DE" b="1" u="sng" dirty="0" smtClean="0">
                <a:ea typeface="ＭＳ Ｐゴシック" pitchFamily="34" charset="-128"/>
              </a:rPr>
              <a:t>doing business</a:t>
            </a:r>
            <a:r>
              <a:rPr lang="en-US" altLang="de-DE" u="sng" dirty="0" smtClean="0">
                <a:ea typeface="ＭＳ Ｐゴシック" pitchFamily="34" charset="-128"/>
              </a:rPr>
              <a:t>, and </a:t>
            </a:r>
            <a:r>
              <a:rPr lang="en-US" altLang="de-DE" b="1" u="sng" dirty="0" smtClean="0">
                <a:ea typeface="ＭＳ Ｐゴシック" pitchFamily="34" charset="-128"/>
              </a:rPr>
              <a:t>programs for computers</a:t>
            </a:r>
          </a:p>
          <a:p>
            <a:pPr eaLnBrk="1" hangingPunct="1">
              <a:spcBef>
                <a:spcPct val="0"/>
              </a:spcBef>
              <a:buClrTx/>
              <a:buSzTx/>
              <a:buFont typeface="Wingdings" pitchFamily="2" charset="2"/>
              <a:buNone/>
            </a:pPr>
            <a:r>
              <a:rPr lang="en-US" altLang="de-DE" b="1" dirty="0" smtClean="0">
                <a:ea typeface="ＭＳ Ｐゴシック" pitchFamily="34" charset="-128"/>
              </a:rPr>
              <a:t>	</a:t>
            </a:r>
            <a:r>
              <a:rPr lang="en-US" altLang="de-DE" dirty="0">
                <a:ea typeface="ＭＳ Ｐゴシック" pitchFamily="34" charset="-128"/>
              </a:rPr>
              <a:t>(</a:t>
            </a:r>
            <a:r>
              <a:rPr lang="en-US" altLang="de-DE" dirty="0" smtClean="0">
                <a:ea typeface="ＭＳ Ｐゴシック" pitchFamily="34" charset="-128"/>
              </a:rPr>
              <a:t>d) </a:t>
            </a:r>
            <a:r>
              <a:rPr lang="en-US" altLang="de-DE" b="1" u="sng" dirty="0" smtClean="0">
                <a:ea typeface="ＭＳ Ｐゴシック" pitchFamily="34" charset="-128"/>
              </a:rPr>
              <a:t>presentations of information</a:t>
            </a:r>
            <a:endParaRPr lang="en-US" altLang="de-DE" b="1" dirty="0" smtClean="0">
              <a:ea typeface="ＭＳ Ｐゴシック" pitchFamily="34" charset="-128"/>
            </a:endParaRPr>
          </a:p>
          <a:p>
            <a:pPr>
              <a:lnSpc>
                <a:spcPct val="105000"/>
              </a:lnSpc>
              <a:spcBef>
                <a:spcPct val="5000"/>
              </a:spcBef>
            </a:pPr>
            <a:r>
              <a:rPr lang="de-DE" altLang="de-DE" b="1" dirty="0" smtClean="0">
                <a:solidFill>
                  <a:srgbClr val="9E0F1E"/>
                </a:solidFill>
                <a:ea typeface="ＭＳ Ｐゴシック" pitchFamily="34" charset="-128"/>
              </a:rPr>
              <a:t>Article 52 (3) EPC</a:t>
            </a:r>
            <a:endParaRPr lang="de-DE" altLang="de-DE" dirty="0" smtClean="0">
              <a:ea typeface="ＭＳ Ｐゴシック" pitchFamily="34" charset="-128"/>
            </a:endParaRP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dirty="0" smtClean="0">
                <a:ea typeface="ＭＳ Ｐゴシック" pitchFamily="34" charset="-128"/>
              </a:rPr>
              <a:t>	The provisions of paragraph 2 shall exclude patentability of the subject-matter or activities ... only to the extent to which a European patent application or a European patent relates to such subject-matter or activities </a:t>
            </a:r>
            <a:r>
              <a:rPr lang="de-DE" altLang="de-DE" b="1" u="sng" dirty="0" smtClean="0">
                <a:ea typeface="ＭＳ Ｐゴシック" pitchFamily="34" charset="-128"/>
              </a:rPr>
              <a:t>as such</a:t>
            </a:r>
            <a:r>
              <a:rPr lang="de-DE" altLang="de-DE" dirty="0" smtClean="0">
                <a:ea typeface="ＭＳ Ｐゴシック" pitchFamily="34" charset="-128"/>
              </a:rPr>
              <a:t>.</a:t>
            </a:r>
          </a:p>
        </p:txBody>
      </p:sp>
      <p:sp>
        <p:nvSpPr>
          <p:cNvPr id="4100" name="Slide Number Placeholder 3" descr="" title="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1"/>
              </a:buClr>
              <a:buSzPct val="75000"/>
              <a:buFont typeface="Wingdings" pitchFamily="2" charset="2"/>
              <a:buChar char="l"/>
              <a:defRPr sz="28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SzPct val="75000"/>
              <a:buChar char="–"/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1"/>
              </a:buClr>
              <a:buSzPct val="75000"/>
              <a:buFont typeface="Wingdings" pitchFamily="2" charset="2"/>
              <a:buChar char="l"/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SzPct val="80000"/>
              <a:buChar char="–"/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SzPct val="65000"/>
              <a:buFont typeface="Wingdings" pitchFamily="2" charset="2"/>
              <a:buChar char="l"/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5000"/>
              <a:buFont typeface="Wingdings" pitchFamily="2" charset="2"/>
              <a:buChar char="l"/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5000"/>
              <a:buFont typeface="Wingdings" pitchFamily="2" charset="2"/>
              <a:buChar char="l"/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5000"/>
              <a:buFont typeface="Wingdings" pitchFamily="2" charset="2"/>
              <a:buChar char="l"/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5000"/>
              <a:buFont typeface="Wingdings" pitchFamily="2" charset="2"/>
              <a:buChar char="l"/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DD668CFE-C33B-4AE1-9910-A11D92A90E66}" type="slidenum">
              <a:rPr lang="en-US" altLang="en-US" sz="2600">
                <a:solidFill>
                  <a:schemeClr val="bg1"/>
                </a:solidFill>
              </a:rPr>
              <a:pPr>
                <a:spcBef>
                  <a:spcPct val="0"/>
                </a:spcBef>
                <a:buClrTx/>
                <a:buSzTx/>
                <a:buFontTx/>
                <a:buNone/>
              </a:pPr>
              <a:t>9</a:t>
            </a:fld>
            <a:endParaRPr lang="en-US" altLang="en-US" sz="2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7546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14="http://schemas.microsoft.com/office/drawing/2010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 descr="" titl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le 1" descr="" title="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>
                <a:ea typeface="ＭＳ Ｐゴシック" pitchFamily="34" charset="-128"/>
              </a:rPr>
              <a:t>Article 56 EPC Inventive step and Technical Claim features</a:t>
            </a:r>
          </a:p>
        </p:txBody>
      </p:sp>
      <p:sp>
        <p:nvSpPr>
          <p:cNvPr id="5123" name="Content Placeholder 2" descr="" title="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5000"/>
              </a:lnSpc>
              <a:spcBef>
                <a:spcPct val="5000"/>
              </a:spcBef>
            </a:pPr>
            <a:r>
              <a:rPr lang="de-DE" altLang="de-DE" b="1" dirty="0" smtClean="0">
                <a:solidFill>
                  <a:srgbClr val="9E0F1E"/>
                </a:solidFill>
                <a:ea typeface="ＭＳ Ｐゴシック" pitchFamily="34" charset="-128"/>
              </a:rPr>
              <a:t>Article 56 EPC</a:t>
            </a:r>
            <a:endParaRPr lang="de-DE" altLang="de-DE" dirty="0" smtClean="0">
              <a:ea typeface="ＭＳ Ｐゴシック" pitchFamily="34" charset="-128"/>
            </a:endParaRP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dirty="0" smtClean="0">
                <a:ea typeface="ＭＳ Ｐゴシック" pitchFamily="34" charset="-128"/>
              </a:rPr>
              <a:t>	An invention shall be considered as involving an inventive step if, having regard to the state of the art, it is not obvious to a person skilled in the art.</a:t>
            </a:r>
          </a:p>
          <a:p>
            <a:pPr>
              <a:lnSpc>
                <a:spcPct val="105000"/>
              </a:lnSpc>
              <a:spcBef>
                <a:spcPct val="5000"/>
              </a:spcBef>
            </a:pPr>
            <a:r>
              <a:rPr lang="de-DE" altLang="de-DE" b="1" dirty="0" smtClean="0">
                <a:solidFill>
                  <a:srgbClr val="9E0F1E"/>
                </a:solidFill>
                <a:ea typeface="ＭＳ Ｐゴシック" pitchFamily="34" charset="-128"/>
              </a:rPr>
              <a:t>Non-technical features not considered for inventive step</a:t>
            </a:r>
          </a:p>
          <a:p>
            <a:pPr eaLnBrk="1" hangingPunct="1">
              <a:spcBef>
                <a:spcPct val="0"/>
              </a:spcBef>
              <a:buClrTx/>
              <a:buSzTx/>
              <a:buFont typeface="Wingdings" pitchFamily="2" charset="2"/>
              <a:buNone/>
            </a:pPr>
            <a:r>
              <a:rPr lang="de-DE" altLang="de-DE" dirty="0" smtClean="0">
                <a:ea typeface="ＭＳ Ｐゴシック" pitchFamily="34" charset="-128"/>
              </a:rPr>
              <a:t>	</a:t>
            </a:r>
            <a:r>
              <a:rPr lang="en-US" altLang="de-DE" dirty="0" smtClean="0">
                <a:ea typeface="ＭＳ Ｐゴシック" pitchFamily="34" charset="-128"/>
              </a:rPr>
              <a:t>When technical and non-technical features are set out in the claim, the non-technical features are not considered when determining the inventive step (T 641/00; T 531/03).</a:t>
            </a:r>
          </a:p>
          <a:p>
            <a:pPr eaLnBrk="1" hangingPunct="1">
              <a:spcBef>
                <a:spcPct val="0"/>
              </a:spcBef>
              <a:buClrTx/>
              <a:buSzTx/>
              <a:buFont typeface="Wingdings" pitchFamily="2" charset="2"/>
              <a:buNone/>
            </a:pPr>
            <a:r>
              <a:rPr lang="en-US" altLang="de-DE" dirty="0" smtClean="0">
                <a:ea typeface="ＭＳ Ｐゴシック" pitchFamily="34" charset="-128"/>
              </a:rPr>
              <a:t>	</a:t>
            </a:r>
            <a:r>
              <a:rPr lang="en-US" altLang="de-DE" u="sng" dirty="0" smtClean="0">
                <a:ea typeface="ＭＳ Ｐゴシック" pitchFamily="34" charset="-128"/>
              </a:rPr>
              <a:t>Exception:</a:t>
            </a:r>
            <a:br>
              <a:rPr lang="en-US" altLang="de-DE" u="sng" dirty="0" smtClean="0">
                <a:ea typeface="ＭＳ Ｐゴシック" pitchFamily="34" charset="-128"/>
              </a:rPr>
            </a:br>
            <a:r>
              <a:rPr lang="en-US" altLang="de-DE" dirty="0" smtClean="0">
                <a:ea typeface="ＭＳ Ｐゴシック" pitchFamily="34" charset="-128"/>
              </a:rPr>
              <a:t>Non-technical features provide a technical contribution to the state of the art (maybe together with the technical features of the claim).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de-DE" altLang="de-DE" sz="2000" dirty="0" smtClean="0">
              <a:ea typeface="ＭＳ Ｐゴシック" pitchFamily="34" charset="-128"/>
            </a:endParaRP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de-DE" altLang="de-DE" sz="2000" dirty="0" smtClean="0">
              <a:ea typeface="ＭＳ Ｐゴシック" pitchFamily="34" charset="-128"/>
            </a:endParaRPr>
          </a:p>
        </p:txBody>
      </p:sp>
      <p:sp>
        <p:nvSpPr>
          <p:cNvPr id="5124" name="Slide Number Placeholder 3" descr="" title="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1"/>
              </a:buClr>
              <a:buSzPct val="75000"/>
              <a:buFont typeface="Wingdings" pitchFamily="2" charset="2"/>
              <a:buChar char="l"/>
              <a:defRPr sz="28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SzPct val="75000"/>
              <a:buChar char="–"/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1"/>
              </a:buClr>
              <a:buSzPct val="75000"/>
              <a:buFont typeface="Wingdings" pitchFamily="2" charset="2"/>
              <a:buChar char="l"/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SzPct val="80000"/>
              <a:buChar char="–"/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SzPct val="65000"/>
              <a:buFont typeface="Wingdings" pitchFamily="2" charset="2"/>
              <a:buChar char="l"/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5000"/>
              <a:buFont typeface="Wingdings" pitchFamily="2" charset="2"/>
              <a:buChar char="l"/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5000"/>
              <a:buFont typeface="Wingdings" pitchFamily="2" charset="2"/>
              <a:buChar char="l"/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5000"/>
              <a:buFont typeface="Wingdings" pitchFamily="2" charset="2"/>
              <a:buChar char="l"/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5000"/>
              <a:buFont typeface="Wingdings" pitchFamily="2" charset="2"/>
              <a:buChar char="l"/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059680DF-0142-4D32-8835-6A8C1FF24E2B}" type="slidenum">
              <a:rPr lang="en-US" altLang="en-US" sz="2600">
                <a:solidFill>
                  <a:schemeClr val="bg1"/>
                </a:solidFill>
              </a:rPr>
              <a:pPr>
                <a:spcBef>
                  <a:spcPct val="0"/>
                </a:spcBef>
                <a:buClrTx/>
                <a:buSzTx/>
                <a:buFontTx/>
                <a:buNone/>
              </a:pPr>
              <a:t>10</a:t>
            </a:fld>
            <a:endParaRPr lang="en-US" altLang="en-US" sz="2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8116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14="http://schemas.microsoft.com/office/drawing/2010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 descr="" titl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1" descr="" title=""/>
          <p:cNvSpPr>
            <a:spLocks noGrp="1" noChangeArrowheads="1"/>
          </p:cNvSpPr>
          <p:nvPr>
            <p:ph type="title"/>
          </p:nvPr>
        </p:nvSpPr>
        <p:spPr>
          <a:xfrm>
            <a:off x="762000" y="549275"/>
            <a:ext cx="7924800" cy="1355725"/>
          </a:xfrm>
        </p:spPr>
        <p:txBody>
          <a:bodyPr/>
          <a:lstStyle/>
          <a:p>
            <a:r>
              <a:rPr lang="en-US" altLang="en-US" dirty="0" smtClean="0">
                <a:ea typeface="ＭＳ Ｐゴシック" pitchFamily="34" charset="-128"/>
              </a:rPr>
              <a:t>The EPO Problem and Solution Approach</a:t>
            </a:r>
          </a:p>
        </p:txBody>
      </p:sp>
      <p:sp>
        <p:nvSpPr>
          <p:cNvPr id="10243" name="Content Placeholder 2" descr="" title=""/>
          <p:cNvSpPr>
            <a:spLocks noGrp="1" noChangeArrowheads="1"/>
          </p:cNvSpPr>
          <p:nvPr>
            <p:ph idx="1"/>
          </p:nvPr>
        </p:nvSpPr>
        <p:spPr>
          <a:xfrm>
            <a:off x="457200" y="1981200"/>
            <a:ext cx="8229600" cy="4017587"/>
          </a:xfrm>
        </p:spPr>
        <p:txBody>
          <a:bodyPr/>
          <a:lstStyle/>
          <a:p>
            <a:pPr>
              <a:defRPr/>
            </a:pPr>
            <a:r>
              <a:rPr lang="de-DE" altLang="de-DE" b="1" dirty="0" smtClean="0">
                <a:solidFill>
                  <a:srgbClr val="000000"/>
                </a:solidFill>
              </a:rPr>
              <a:t>The EPO Problem and Solution Approach as an </a:t>
            </a:r>
            <a:r>
              <a:rPr lang="en-US" b="1" dirty="0" smtClean="0"/>
              <a:t>”</a:t>
            </a:r>
            <a:r>
              <a:rPr lang="de-DE" altLang="de-DE" b="1" dirty="0" smtClean="0">
                <a:solidFill>
                  <a:srgbClr val="000000"/>
                </a:solidFill>
              </a:rPr>
              <a:t>inventive step</a:t>
            </a:r>
            <a:r>
              <a:rPr lang="en-US" b="1" dirty="0" smtClean="0"/>
              <a:t>”</a:t>
            </a:r>
            <a:r>
              <a:rPr lang="de-DE" altLang="de-DE" b="1" dirty="0" smtClean="0">
                <a:solidFill>
                  <a:srgbClr val="000000"/>
                </a:solidFill>
              </a:rPr>
              <a:t> test in the context of Computer-Implemented inventions (see e.g. T1043/03)</a:t>
            </a:r>
            <a:endParaRPr lang="de-DE" altLang="de-DE" dirty="0" smtClean="0">
              <a:solidFill>
                <a:srgbClr val="000000"/>
              </a:solidFill>
            </a:endParaRPr>
          </a:p>
          <a:p>
            <a:pPr eaLnBrk="1" hangingPunct="1">
              <a:lnSpc>
                <a:spcPct val="105000"/>
              </a:lnSpc>
              <a:spcBef>
                <a:spcPct val="5000"/>
              </a:spcBef>
              <a:buClrTx/>
              <a:buSzTx/>
              <a:buFontTx/>
              <a:buNone/>
              <a:defRPr/>
            </a:pPr>
            <a:endParaRPr lang="de-DE" altLang="de-DE" b="1" dirty="0" smtClean="0">
              <a:solidFill>
                <a:srgbClr val="000000"/>
              </a:solidFill>
            </a:endParaRPr>
          </a:p>
          <a:p>
            <a:pPr marL="457200" indent="-457200" eaLnBrk="1" hangingPunct="1">
              <a:lnSpc>
                <a:spcPct val="105000"/>
              </a:lnSpc>
              <a:spcBef>
                <a:spcPct val="5000"/>
              </a:spcBef>
              <a:buClrTx/>
              <a:buSzTx/>
              <a:buFont typeface="+mj-lt"/>
              <a:buAutoNum type="arabicPeriod"/>
              <a:defRPr/>
            </a:pPr>
            <a:r>
              <a:rPr lang="de-DE" altLang="de-DE" dirty="0" smtClean="0">
                <a:solidFill>
                  <a:srgbClr val="C00000"/>
                </a:solidFill>
              </a:rPr>
              <a:t>Determine Closest Prior Art</a:t>
            </a:r>
            <a:endParaRPr lang="de-DE" altLang="de-DE" dirty="0">
              <a:solidFill>
                <a:srgbClr val="C00000"/>
              </a:solidFill>
            </a:endParaRPr>
          </a:p>
          <a:p>
            <a:pPr marL="457200" indent="-457200" eaLnBrk="1" hangingPunct="1">
              <a:lnSpc>
                <a:spcPct val="105000"/>
              </a:lnSpc>
              <a:spcBef>
                <a:spcPct val="5000"/>
              </a:spcBef>
              <a:buClrTx/>
              <a:buSzTx/>
              <a:buFont typeface="+mj-lt"/>
              <a:buAutoNum type="arabicPeriod"/>
              <a:defRPr/>
            </a:pPr>
            <a:r>
              <a:rPr lang="de-DE" altLang="de-DE" dirty="0" smtClean="0">
                <a:solidFill>
                  <a:srgbClr val="C00000"/>
                </a:solidFill>
              </a:rPr>
              <a:t>Determine differences of the claimed subject over the Closest Prior Art</a:t>
            </a:r>
          </a:p>
          <a:p>
            <a:pPr marL="457200" indent="-457200" eaLnBrk="1" hangingPunct="1">
              <a:lnSpc>
                <a:spcPct val="105000"/>
              </a:lnSpc>
              <a:spcBef>
                <a:spcPct val="5000"/>
              </a:spcBef>
              <a:buClrTx/>
              <a:buSzTx/>
              <a:buFont typeface="+mj-lt"/>
              <a:buAutoNum type="arabicPeriod"/>
              <a:defRPr/>
            </a:pPr>
            <a:r>
              <a:rPr lang="de-DE" altLang="de-DE" dirty="0" smtClean="0">
                <a:solidFill>
                  <a:srgbClr val="C00000"/>
                </a:solidFill>
              </a:rPr>
              <a:t>Determine technical effect(s) achieved by these differences</a:t>
            </a:r>
          </a:p>
          <a:p>
            <a:pPr marL="457200" indent="-457200" eaLnBrk="1" hangingPunct="1">
              <a:lnSpc>
                <a:spcPct val="105000"/>
              </a:lnSpc>
              <a:spcBef>
                <a:spcPct val="5000"/>
              </a:spcBef>
              <a:buClrTx/>
              <a:buSzTx/>
              <a:buFont typeface="+mj-lt"/>
              <a:buAutoNum type="arabicPeriod"/>
              <a:defRPr/>
            </a:pPr>
            <a:r>
              <a:rPr lang="de-DE" altLang="de-DE" dirty="0" smtClean="0">
                <a:solidFill>
                  <a:srgbClr val="C00000"/>
                </a:solidFill>
              </a:rPr>
              <a:t>Determine objective technical problem from the technical effect(s) </a:t>
            </a:r>
            <a:endParaRPr lang="de-DE" altLang="de-DE" dirty="0">
              <a:solidFill>
                <a:srgbClr val="C00000"/>
              </a:solidFill>
            </a:endParaRPr>
          </a:p>
          <a:p>
            <a:pPr marL="457200" indent="-457200" eaLnBrk="1" hangingPunct="1">
              <a:lnSpc>
                <a:spcPct val="105000"/>
              </a:lnSpc>
              <a:spcBef>
                <a:spcPct val="5000"/>
              </a:spcBef>
              <a:buClrTx/>
              <a:buSzTx/>
              <a:buFont typeface="+mj-lt"/>
              <a:buAutoNum type="arabicPeriod"/>
              <a:defRPr/>
            </a:pPr>
            <a:r>
              <a:rPr lang="de-DE" altLang="de-DE" dirty="0" smtClean="0">
                <a:solidFill>
                  <a:srgbClr val="C00000"/>
                </a:solidFill>
              </a:rPr>
              <a:t>Determine whether the claimed solution of the objective technical problem is obvious in view of the entire prior art</a:t>
            </a:r>
          </a:p>
          <a:p>
            <a:pPr eaLnBrk="1" hangingPunct="1">
              <a:lnSpc>
                <a:spcPct val="105000"/>
              </a:lnSpc>
              <a:spcBef>
                <a:spcPct val="5000"/>
              </a:spcBef>
              <a:buClrTx/>
              <a:buSzTx/>
              <a:buFontTx/>
              <a:buNone/>
              <a:defRPr/>
            </a:pPr>
            <a:endParaRPr lang="de-DE" altLang="de-DE" sz="1800" b="1" dirty="0" smtClean="0">
              <a:solidFill>
                <a:srgbClr val="9E0F1E"/>
              </a:solidFill>
            </a:endParaRPr>
          </a:p>
        </p:txBody>
      </p:sp>
      <p:sp>
        <p:nvSpPr>
          <p:cNvPr id="6148" name="Slide Number Placeholder 3" descr="" title="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1"/>
              </a:buClr>
              <a:buSzPct val="75000"/>
              <a:buFont typeface="Wingdings" pitchFamily="2" charset="2"/>
              <a:buChar char="l"/>
              <a:defRPr sz="28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SzPct val="75000"/>
              <a:buChar char="–"/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1"/>
              </a:buClr>
              <a:buSzPct val="75000"/>
              <a:buFont typeface="Wingdings" pitchFamily="2" charset="2"/>
              <a:buChar char="l"/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SzPct val="80000"/>
              <a:buChar char="–"/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SzPct val="65000"/>
              <a:buFont typeface="Wingdings" pitchFamily="2" charset="2"/>
              <a:buChar char="l"/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5000"/>
              <a:buFont typeface="Wingdings" pitchFamily="2" charset="2"/>
              <a:buChar char="l"/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5000"/>
              <a:buFont typeface="Wingdings" pitchFamily="2" charset="2"/>
              <a:buChar char="l"/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5000"/>
              <a:buFont typeface="Wingdings" pitchFamily="2" charset="2"/>
              <a:buChar char="l"/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5000"/>
              <a:buFont typeface="Wingdings" pitchFamily="2" charset="2"/>
              <a:buChar char="l"/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85FEF1D6-1055-47F1-9502-392B0AA25D8C}" type="slidenum">
              <a:rPr lang="en-US" altLang="en-US" sz="2600">
                <a:solidFill>
                  <a:schemeClr val="bg1"/>
                </a:solidFill>
              </a:rPr>
              <a:pPr>
                <a:spcBef>
                  <a:spcPct val="0"/>
                </a:spcBef>
                <a:buClrTx/>
                <a:buSzTx/>
                <a:buFontTx/>
                <a:buNone/>
              </a:pPr>
              <a:t>11</a:t>
            </a:fld>
            <a:endParaRPr lang="en-US" altLang="en-US" sz="2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66068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14="http://schemas.microsoft.com/office/drawing/2010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 descr="" titl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" descr="" title="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mtClean="0">
                <a:ea typeface="ＭＳ Ｐゴシック" pitchFamily="34" charset="-128"/>
              </a:rPr>
              <a:t>Checklist and Safe Harbor Examples</a:t>
            </a:r>
          </a:p>
        </p:txBody>
      </p:sp>
      <p:sp>
        <p:nvSpPr>
          <p:cNvPr id="11267" name="Content Placeholder 2" descr="" title="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5000"/>
              </a:lnSpc>
              <a:spcBef>
                <a:spcPct val="5000"/>
              </a:spcBef>
              <a:defRPr/>
            </a:pPr>
            <a:r>
              <a:rPr lang="en-US" altLang="de-DE" b="1" dirty="0" smtClean="0">
                <a:solidFill>
                  <a:srgbClr val="C00000"/>
                </a:solidFill>
              </a:rPr>
              <a:t>Checklist for evaluating chances of success</a:t>
            </a:r>
          </a:p>
          <a:p>
            <a:pPr marL="0" indent="0" eaLnBrk="1" hangingPunct="1">
              <a:lnSpc>
                <a:spcPct val="105000"/>
              </a:lnSpc>
              <a:spcBef>
                <a:spcPct val="5000"/>
              </a:spcBef>
              <a:buClrTx/>
              <a:buSzTx/>
              <a:buFont typeface="Wingdings" pitchFamily="2" charset="2"/>
              <a:buNone/>
              <a:defRPr/>
            </a:pPr>
            <a:r>
              <a:rPr lang="en-US" altLang="de-DE" dirty="0" smtClean="0"/>
              <a:t>1) Is a technical problem solved by the invention?</a:t>
            </a:r>
          </a:p>
          <a:p>
            <a:pPr marL="0" indent="0" eaLnBrk="1" hangingPunct="1">
              <a:lnSpc>
                <a:spcPct val="105000"/>
              </a:lnSpc>
              <a:spcBef>
                <a:spcPct val="5000"/>
              </a:spcBef>
              <a:buClrTx/>
              <a:buSzTx/>
              <a:buFont typeface="Wingdings" pitchFamily="2" charset="2"/>
              <a:buNone/>
              <a:defRPr/>
            </a:pPr>
            <a:r>
              <a:rPr lang="en-US" altLang="de-DE" dirty="0" smtClean="0"/>
              <a:t>2) Is a technical effect achieved by the invention?</a:t>
            </a:r>
          </a:p>
          <a:p>
            <a:pPr marL="0" indent="0" eaLnBrk="1" hangingPunct="1">
              <a:lnSpc>
                <a:spcPct val="105000"/>
              </a:lnSpc>
              <a:spcBef>
                <a:spcPct val="5000"/>
              </a:spcBef>
              <a:buClrTx/>
              <a:buSzTx/>
              <a:buFont typeface="Wingdings" pitchFamily="2" charset="2"/>
              <a:buNone/>
              <a:defRPr/>
            </a:pPr>
            <a:r>
              <a:rPr lang="en-US" altLang="de-DE" dirty="0" smtClean="0"/>
              <a:t>3) Are technical means used for implementing the invention (more than a common computer)?</a:t>
            </a:r>
          </a:p>
          <a:p>
            <a:pPr marL="0" indent="0" eaLnBrk="1" hangingPunct="1">
              <a:lnSpc>
                <a:spcPct val="105000"/>
              </a:lnSpc>
              <a:spcBef>
                <a:spcPct val="5000"/>
              </a:spcBef>
              <a:buClrTx/>
              <a:buSzTx/>
              <a:buFont typeface="Wingdings" pitchFamily="2" charset="2"/>
              <a:buNone/>
              <a:defRPr/>
            </a:pPr>
            <a:r>
              <a:rPr lang="en-US" altLang="de-DE" dirty="0" smtClean="0"/>
              <a:t>4) Are technical considerations necessary to implement the invention (more than common considerations when implementing the invention on a common computer)?</a:t>
            </a:r>
          </a:p>
          <a:p>
            <a:pPr marL="0" indent="0" eaLnBrk="1" hangingPunct="1">
              <a:lnSpc>
                <a:spcPct val="105000"/>
              </a:lnSpc>
              <a:spcBef>
                <a:spcPct val="5000"/>
              </a:spcBef>
              <a:buClrTx/>
              <a:buSzTx/>
              <a:buFont typeface="Wingdings" pitchFamily="2" charset="2"/>
              <a:buNone/>
              <a:defRPr/>
            </a:pPr>
            <a:r>
              <a:rPr lang="en-US" altLang="de-DE" dirty="0" smtClean="0"/>
              <a:t>5) Are these aspects outlined in the description in detail?</a:t>
            </a:r>
            <a:endParaRPr lang="en-US" altLang="de-DE" dirty="0"/>
          </a:p>
          <a:p>
            <a:pPr>
              <a:lnSpc>
                <a:spcPct val="105000"/>
              </a:lnSpc>
              <a:spcBef>
                <a:spcPct val="5000"/>
              </a:spcBef>
              <a:defRPr/>
            </a:pPr>
            <a:r>
              <a:rPr lang="en-US" altLang="de-DE" b="1" dirty="0" smtClean="0">
                <a:solidFill>
                  <a:srgbClr val="C00000"/>
                </a:solidFill>
              </a:rPr>
              <a:t>Some Safe Harbor Examples</a:t>
            </a:r>
          </a:p>
          <a:p>
            <a:pPr marL="400050" indent="-400050" eaLnBrk="1" hangingPunct="1">
              <a:lnSpc>
                <a:spcPct val="105000"/>
              </a:lnSpc>
              <a:spcBef>
                <a:spcPct val="5000"/>
              </a:spcBef>
              <a:buClrTx/>
              <a:buSzTx/>
              <a:buFont typeface="Wingdings" pitchFamily="2" charset="2"/>
              <a:buAutoNum type="romanLcParenR"/>
              <a:defRPr/>
            </a:pPr>
            <a:r>
              <a:rPr lang="en-US" altLang="de-DE" dirty="0" smtClean="0"/>
              <a:t>Interactions with the physical world</a:t>
            </a:r>
          </a:p>
          <a:p>
            <a:pPr marL="400050" indent="-400050" eaLnBrk="1" hangingPunct="1">
              <a:lnSpc>
                <a:spcPct val="105000"/>
              </a:lnSpc>
              <a:spcBef>
                <a:spcPct val="5000"/>
              </a:spcBef>
              <a:buClrTx/>
              <a:buSzTx/>
              <a:buFont typeface="Wingdings" pitchFamily="2" charset="2"/>
              <a:buAutoNum type="romanLcParenR"/>
              <a:defRPr/>
            </a:pPr>
            <a:r>
              <a:rPr lang="en-US" altLang="de-DE" dirty="0" smtClean="0"/>
              <a:t>Computer-external controls (e.g. </a:t>
            </a:r>
            <a:r>
              <a:rPr lang="en-US" altLang="de-DE" dirty="0"/>
              <a:t>a</a:t>
            </a:r>
            <a:r>
              <a:rPr lang="en-US" altLang="de-DE" dirty="0" smtClean="0"/>
              <a:t>nti-skid braking system ABS)</a:t>
            </a:r>
          </a:p>
          <a:p>
            <a:pPr marL="400050" indent="-400050" eaLnBrk="1" hangingPunct="1">
              <a:lnSpc>
                <a:spcPct val="105000"/>
              </a:lnSpc>
              <a:spcBef>
                <a:spcPct val="5000"/>
              </a:spcBef>
              <a:buClrTx/>
              <a:buSzTx/>
              <a:buFont typeface="Wingdings" pitchFamily="2" charset="2"/>
              <a:buAutoNum type="romanLcParenR"/>
              <a:defRPr/>
            </a:pPr>
            <a:r>
              <a:rPr lang="en-US" altLang="de-DE" dirty="0" smtClean="0"/>
              <a:t>Computer-internal controls (e.g. memory controller of general purpose computer)</a:t>
            </a:r>
            <a:endParaRPr lang="en-US" altLang="de-DE" dirty="0"/>
          </a:p>
        </p:txBody>
      </p:sp>
      <p:sp>
        <p:nvSpPr>
          <p:cNvPr id="7172" name="Slide Number Placeholder 3" descr="" title="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tx1"/>
              </a:buClr>
              <a:buSzPct val="75000"/>
              <a:buFont typeface="Wingdings" pitchFamily="2" charset="2"/>
              <a:buChar char="l"/>
              <a:defRPr sz="28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SzPct val="75000"/>
              <a:buChar char="–"/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1"/>
              </a:buClr>
              <a:buSzPct val="75000"/>
              <a:buFont typeface="Wingdings" pitchFamily="2" charset="2"/>
              <a:buChar char="l"/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SzPct val="80000"/>
              <a:buChar char="–"/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SzPct val="65000"/>
              <a:buFont typeface="Wingdings" pitchFamily="2" charset="2"/>
              <a:buChar char="l"/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5000"/>
              <a:buFont typeface="Wingdings" pitchFamily="2" charset="2"/>
              <a:buChar char="l"/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5000"/>
              <a:buFont typeface="Wingdings" pitchFamily="2" charset="2"/>
              <a:buChar char="l"/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5000"/>
              <a:buFont typeface="Wingdings" pitchFamily="2" charset="2"/>
              <a:buChar char="l"/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5000"/>
              <a:buFont typeface="Wingdings" pitchFamily="2" charset="2"/>
              <a:buChar char="l"/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8B307E01-9DB6-46D0-B6FC-59F941B32B95}" type="slidenum">
              <a:rPr lang="en-US" altLang="en-US" sz="2600">
                <a:solidFill>
                  <a:srgbClr val="FFFFFF"/>
                </a:solidFill>
              </a:rPr>
              <a:pPr>
                <a:spcBef>
                  <a:spcPct val="0"/>
                </a:spcBef>
                <a:buClrTx/>
                <a:buSzTx/>
                <a:buFontTx/>
                <a:buNone/>
              </a:pPr>
              <a:t>12</a:t>
            </a:fld>
            <a:endParaRPr lang="en-US" altLang="en-US" sz="26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91523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14="http://schemas.microsoft.com/office/drawing/2010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 descr="" titl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698" name="Picture 9" descr="" title="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" y="115888"/>
            <a:ext cx="993775" cy="811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Ovale 2" descr="" title=""/>
          <p:cNvSpPr/>
          <p:nvPr/>
        </p:nvSpPr>
        <p:spPr>
          <a:xfrm>
            <a:off x="2647950" y="331788"/>
            <a:ext cx="2376488" cy="1368425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t-IT" sz="2000" dirty="0" err="1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utory</a:t>
            </a:r>
            <a:r>
              <a:rPr lang="it-IT" sz="2000" dirty="0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2000" dirty="0" err="1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tegory</a:t>
            </a:r>
            <a:r>
              <a:rPr lang="it-IT" sz="2000" dirty="0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</p:txBody>
      </p:sp>
      <p:sp>
        <p:nvSpPr>
          <p:cNvPr id="4" name="Rettangolo 3" descr="" title=""/>
          <p:cNvSpPr/>
          <p:nvPr/>
        </p:nvSpPr>
        <p:spPr>
          <a:xfrm>
            <a:off x="393700" y="2924175"/>
            <a:ext cx="1582738" cy="936625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t-IT" sz="1600" dirty="0" err="1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ELIGIBLE</a:t>
            </a:r>
            <a:endParaRPr lang="it-IT" sz="1600" dirty="0">
              <a:solidFill>
                <a:srgbClr val="00426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defRPr/>
            </a:pPr>
            <a:r>
              <a:rPr lang="it-IT" sz="1200" dirty="0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5 </a:t>
            </a:r>
            <a:r>
              <a:rPr lang="it-IT" sz="1200" dirty="0" err="1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.S.C</a:t>
            </a:r>
            <a:r>
              <a:rPr lang="it-IT" sz="1200" dirty="0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101</a:t>
            </a:r>
          </a:p>
        </p:txBody>
      </p:sp>
      <p:sp>
        <p:nvSpPr>
          <p:cNvPr id="9" name="Ovale 8" descr="" title=""/>
          <p:cNvSpPr/>
          <p:nvPr/>
        </p:nvSpPr>
        <p:spPr>
          <a:xfrm>
            <a:off x="2627313" y="2708275"/>
            <a:ext cx="2376487" cy="1368425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t-IT" sz="1400" dirty="0" err="1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dicially</a:t>
            </a:r>
            <a:r>
              <a:rPr lang="it-IT" sz="1400" dirty="0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ognized</a:t>
            </a:r>
            <a:r>
              <a:rPr lang="it-IT" sz="1400" dirty="0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ception</a:t>
            </a:r>
            <a:r>
              <a:rPr lang="it-IT" sz="1400" dirty="0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it-IT" sz="1400" dirty="0" err="1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stract</a:t>
            </a:r>
            <a:r>
              <a:rPr lang="it-IT" sz="1400" dirty="0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as</a:t>
            </a:r>
            <a:r>
              <a:rPr lang="it-IT" sz="1400" dirty="0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it-IT" sz="1400" dirty="0" err="1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tural</a:t>
            </a:r>
            <a:r>
              <a:rPr lang="it-IT" sz="1400" dirty="0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 err="1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enomena</a:t>
            </a:r>
            <a:r>
              <a:rPr lang="it-IT" sz="1400" dirty="0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it-IT" sz="1400" dirty="0" err="1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ws</a:t>
            </a:r>
            <a:r>
              <a:rPr lang="it-IT" sz="1400" dirty="0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nature)?</a:t>
            </a:r>
          </a:p>
        </p:txBody>
      </p:sp>
      <p:sp>
        <p:nvSpPr>
          <p:cNvPr id="10" name="Ovale 9" descr="" title=""/>
          <p:cNvSpPr/>
          <p:nvPr/>
        </p:nvSpPr>
        <p:spPr>
          <a:xfrm>
            <a:off x="2668588" y="5159375"/>
            <a:ext cx="2376487" cy="1368425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t-IT" sz="1600" dirty="0" err="1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itional</a:t>
            </a:r>
            <a:r>
              <a:rPr lang="it-IT" sz="1600" dirty="0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600" dirty="0" err="1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ments</a:t>
            </a:r>
            <a:r>
              <a:rPr lang="it-IT" sz="1600" dirty="0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600" dirty="0" err="1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ounting</a:t>
            </a:r>
            <a:r>
              <a:rPr lang="it-IT" sz="1600" dirty="0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600" dirty="0" err="1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gnificantly</a:t>
            </a:r>
            <a:r>
              <a:rPr lang="it-IT" sz="1600" dirty="0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ore ?</a:t>
            </a:r>
          </a:p>
        </p:txBody>
      </p:sp>
      <p:sp>
        <p:nvSpPr>
          <p:cNvPr id="29703" name="CasellaDiTesto 13" descr="" title=""/>
          <p:cNvSpPr txBox="1">
            <a:spLocks noChangeArrowheads="1"/>
          </p:cNvSpPr>
          <p:nvPr/>
        </p:nvSpPr>
        <p:spPr bwMode="auto">
          <a:xfrm>
            <a:off x="1504950" y="1889125"/>
            <a:ext cx="719138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it-IT" altLang="it-IT" sz="1600">
                <a:solidFill>
                  <a:srgbClr val="00426F"/>
                </a:solidFill>
                <a:latin typeface="Arial" charset="0"/>
              </a:rPr>
              <a:t>NO</a:t>
            </a:r>
          </a:p>
        </p:txBody>
      </p:sp>
      <p:sp>
        <p:nvSpPr>
          <p:cNvPr id="19" name="Ovale 18" descr="" title=""/>
          <p:cNvSpPr/>
          <p:nvPr/>
        </p:nvSpPr>
        <p:spPr>
          <a:xfrm>
            <a:off x="5476875" y="3636963"/>
            <a:ext cx="1828800" cy="1816100"/>
          </a:xfrm>
          <a:prstGeom prst="ellipse">
            <a:avLst/>
          </a:prstGeom>
          <a:solidFill>
            <a:srgbClr val="99CCFF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t-IT" sz="1800" dirty="0" err="1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GIBLE</a:t>
            </a:r>
            <a:endParaRPr lang="it-IT" sz="1800" dirty="0">
              <a:solidFill>
                <a:srgbClr val="00426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defRPr/>
            </a:pPr>
            <a:r>
              <a:rPr lang="it-IT" sz="1200" dirty="0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5 </a:t>
            </a:r>
            <a:r>
              <a:rPr lang="it-IT" sz="1200" dirty="0" err="1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.S.C</a:t>
            </a:r>
            <a:r>
              <a:rPr lang="it-IT" sz="1200" dirty="0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101</a:t>
            </a:r>
          </a:p>
        </p:txBody>
      </p:sp>
      <p:sp>
        <p:nvSpPr>
          <p:cNvPr id="29705" name="CasellaDiTesto 23" descr="" title=""/>
          <p:cNvSpPr txBox="1">
            <a:spLocks noChangeArrowheads="1"/>
          </p:cNvSpPr>
          <p:nvPr/>
        </p:nvSpPr>
        <p:spPr bwMode="auto">
          <a:xfrm>
            <a:off x="3771900" y="2376488"/>
            <a:ext cx="647700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it-IT" altLang="it-IT" sz="1600">
                <a:solidFill>
                  <a:srgbClr val="00426F"/>
                </a:solidFill>
                <a:latin typeface="Arial" charset="0"/>
              </a:rPr>
              <a:t>YES</a:t>
            </a:r>
          </a:p>
        </p:txBody>
      </p:sp>
      <p:cxnSp>
        <p:nvCxnSpPr>
          <p:cNvPr id="28" name="Connettore 2 27" descr="" title=""/>
          <p:cNvCxnSpPr>
            <a:stCxn id="3" idx="4"/>
            <a:endCxn id="9" idx="0"/>
          </p:cNvCxnSpPr>
          <p:nvPr/>
        </p:nvCxnSpPr>
        <p:spPr>
          <a:xfrm flipH="1">
            <a:off x="3816350" y="1700213"/>
            <a:ext cx="20638" cy="100806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ttore 2 29" descr="" title=""/>
          <p:cNvCxnSpPr>
            <a:stCxn id="9" idx="4"/>
            <a:endCxn id="10" idx="0"/>
          </p:cNvCxnSpPr>
          <p:nvPr/>
        </p:nvCxnSpPr>
        <p:spPr>
          <a:xfrm>
            <a:off x="3816350" y="4076700"/>
            <a:ext cx="41275" cy="10826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nettore 2 33" descr="" title=""/>
          <p:cNvCxnSpPr>
            <a:stCxn id="3" idx="2"/>
            <a:endCxn id="4" idx="0"/>
          </p:cNvCxnSpPr>
          <p:nvPr/>
        </p:nvCxnSpPr>
        <p:spPr>
          <a:xfrm flipH="1">
            <a:off x="1185863" y="1016000"/>
            <a:ext cx="1462087" cy="19081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709" name="CasellaDiTesto 41" descr="" title=""/>
          <p:cNvSpPr txBox="1">
            <a:spLocks noChangeArrowheads="1"/>
          </p:cNvSpPr>
          <p:nvPr/>
        </p:nvSpPr>
        <p:spPr bwMode="auto">
          <a:xfrm>
            <a:off x="5189538" y="3254375"/>
            <a:ext cx="649287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it-IT" altLang="it-IT" sz="1600">
                <a:solidFill>
                  <a:srgbClr val="00426F"/>
                </a:solidFill>
                <a:latin typeface="Arial" charset="0"/>
              </a:rPr>
              <a:t>NO</a:t>
            </a:r>
          </a:p>
        </p:txBody>
      </p:sp>
      <p:sp>
        <p:nvSpPr>
          <p:cNvPr id="29710" name="CasellaDiTesto 42" descr="" title=""/>
          <p:cNvSpPr txBox="1">
            <a:spLocks noChangeArrowheads="1"/>
          </p:cNvSpPr>
          <p:nvPr/>
        </p:nvSpPr>
        <p:spPr bwMode="auto">
          <a:xfrm>
            <a:off x="1514475" y="4473575"/>
            <a:ext cx="503238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it-IT" altLang="it-IT" sz="1600">
                <a:solidFill>
                  <a:srgbClr val="00426F"/>
                </a:solidFill>
                <a:latin typeface="Arial" charset="0"/>
              </a:rPr>
              <a:t>NO</a:t>
            </a:r>
          </a:p>
        </p:txBody>
      </p:sp>
      <p:sp>
        <p:nvSpPr>
          <p:cNvPr id="29711" name="CasellaDiTesto 43" descr="" title=""/>
          <p:cNvSpPr txBox="1">
            <a:spLocks noChangeArrowheads="1"/>
          </p:cNvSpPr>
          <p:nvPr/>
        </p:nvSpPr>
        <p:spPr bwMode="auto">
          <a:xfrm>
            <a:off x="6659563" y="201613"/>
            <a:ext cx="2205037" cy="1570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it-IT" altLang="it-IT" sz="4800" b="1">
                <a:solidFill>
                  <a:srgbClr val="00426F"/>
                </a:solidFill>
                <a:latin typeface="Arial" charset="0"/>
              </a:rPr>
              <a:t>U.S.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it-IT" altLang="it-IT" sz="4800" b="1">
                <a:solidFill>
                  <a:srgbClr val="00426F"/>
                </a:solidFill>
                <a:latin typeface="Arial" charset="0"/>
              </a:rPr>
              <a:t>Claims</a:t>
            </a:r>
          </a:p>
        </p:txBody>
      </p:sp>
      <p:sp>
        <p:nvSpPr>
          <p:cNvPr id="29712" name="CasellaDiTesto 44" descr="" title=""/>
          <p:cNvSpPr txBox="1">
            <a:spLocks noChangeArrowheads="1"/>
          </p:cNvSpPr>
          <p:nvPr/>
        </p:nvSpPr>
        <p:spPr bwMode="auto">
          <a:xfrm>
            <a:off x="5148263" y="4972050"/>
            <a:ext cx="64770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it-IT" altLang="it-IT" sz="1600">
                <a:solidFill>
                  <a:srgbClr val="00426F"/>
                </a:solidFill>
                <a:latin typeface="Arial" charset="0"/>
              </a:rPr>
              <a:t>YES</a:t>
            </a:r>
          </a:p>
        </p:txBody>
      </p:sp>
      <p:sp>
        <p:nvSpPr>
          <p:cNvPr id="29713" name="CasellaDiTesto 45" descr="" title=""/>
          <p:cNvSpPr txBox="1">
            <a:spLocks noChangeArrowheads="1"/>
          </p:cNvSpPr>
          <p:nvPr/>
        </p:nvSpPr>
        <p:spPr bwMode="auto">
          <a:xfrm>
            <a:off x="3773488" y="4076700"/>
            <a:ext cx="6540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it-IT" altLang="it-IT" sz="1600">
                <a:solidFill>
                  <a:srgbClr val="00426F"/>
                </a:solidFill>
                <a:latin typeface="Arial" charset="0"/>
              </a:rPr>
              <a:t>YES</a:t>
            </a:r>
          </a:p>
        </p:txBody>
      </p:sp>
      <p:cxnSp>
        <p:nvCxnSpPr>
          <p:cNvPr id="13" name="Connettore 2 12" descr="" title=""/>
          <p:cNvCxnSpPr>
            <a:stCxn id="10" idx="2"/>
            <a:endCxn id="4" idx="2"/>
          </p:cNvCxnSpPr>
          <p:nvPr/>
        </p:nvCxnSpPr>
        <p:spPr>
          <a:xfrm flipH="1" flipV="1">
            <a:off x="1185863" y="3860800"/>
            <a:ext cx="1482725" cy="198278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ttore 2 20" descr="" title=""/>
          <p:cNvCxnSpPr>
            <a:stCxn id="10" idx="6"/>
          </p:cNvCxnSpPr>
          <p:nvPr/>
        </p:nvCxnSpPr>
        <p:spPr>
          <a:xfrm flipV="1">
            <a:off x="5045075" y="5416550"/>
            <a:ext cx="631825" cy="4270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ttore 2 22" descr="" title=""/>
          <p:cNvCxnSpPr>
            <a:stCxn id="9" idx="6"/>
          </p:cNvCxnSpPr>
          <p:nvPr/>
        </p:nvCxnSpPr>
        <p:spPr>
          <a:xfrm>
            <a:off x="5003800" y="3392488"/>
            <a:ext cx="612775" cy="46831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 descr="" title="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D0BEBD-6114-4042-8DE0-2244D19895E9}" type="slidenum">
              <a:rPr lang="it-IT" altLang="it-IT" smtClean="0"/>
              <a:pPr/>
              <a:t>13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463139839"/>
      </p:ext>
    </p:extLst>
  </p:cSld>
  <p:clrMapOvr>
    <a:masterClrMapping/>
  </p:clrMapOvr>
</p:sld>
</file>

<file path=ppt/slides/slide15.xml><?xml version="1.0" encoding="utf-8"?>
<p:sld xmlns:a14="http://schemas.microsoft.com/office/drawing/2010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 descr="" titl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46" name="Picture 9" descr="" title="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" y="115888"/>
            <a:ext cx="993775" cy="811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Ovale 2" descr="" title=""/>
          <p:cNvSpPr/>
          <p:nvPr/>
        </p:nvSpPr>
        <p:spPr>
          <a:xfrm>
            <a:off x="2627313" y="195263"/>
            <a:ext cx="2376487" cy="1368425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t-IT" sz="2000" dirty="0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ICAL ???</a:t>
            </a:r>
          </a:p>
        </p:txBody>
      </p:sp>
      <p:sp>
        <p:nvSpPr>
          <p:cNvPr id="4" name="Rettangolo 3" descr="" title=""/>
          <p:cNvSpPr/>
          <p:nvPr/>
        </p:nvSpPr>
        <p:spPr>
          <a:xfrm>
            <a:off x="395288" y="1268413"/>
            <a:ext cx="1584325" cy="936625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t-IT" sz="1600" dirty="0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t. 52(2)</a:t>
            </a:r>
          </a:p>
          <a:p>
            <a:pPr algn="ctr">
              <a:defRPr/>
            </a:pPr>
            <a:r>
              <a:rPr lang="it-IT" sz="1600" dirty="0" err="1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clusion</a:t>
            </a:r>
            <a:endParaRPr lang="it-IT" sz="1600" dirty="0">
              <a:solidFill>
                <a:srgbClr val="00426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defRPr/>
            </a:pPr>
            <a:r>
              <a:rPr lang="it-IT" sz="1400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-</a:t>
            </a:r>
            <a:r>
              <a:rPr lang="it-IT" sz="1400" dirty="0" err="1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NTION</a:t>
            </a:r>
            <a:endParaRPr lang="it-IT" sz="1400" dirty="0">
              <a:solidFill>
                <a:srgbClr val="00426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Ovale 8" descr="" title=""/>
          <p:cNvSpPr/>
          <p:nvPr/>
        </p:nvSpPr>
        <p:spPr>
          <a:xfrm>
            <a:off x="2627313" y="1916113"/>
            <a:ext cx="2376487" cy="1368425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t-IT" sz="1600" dirty="0" err="1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fferences</a:t>
            </a:r>
            <a:r>
              <a:rPr lang="it-IT" sz="1600" dirty="0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600" dirty="0" err="1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ed</a:t>
            </a:r>
            <a:r>
              <a:rPr lang="it-IT" sz="1600" dirty="0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y </a:t>
            </a:r>
          </a:p>
          <a:p>
            <a:pPr algn="ctr">
              <a:defRPr/>
            </a:pPr>
            <a:r>
              <a:rPr lang="it-IT" sz="1600" dirty="0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-</a:t>
            </a:r>
            <a:r>
              <a:rPr lang="it-IT" sz="1600" dirty="0" err="1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ical</a:t>
            </a:r>
            <a:r>
              <a:rPr lang="it-IT" sz="1600" dirty="0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600" dirty="0" err="1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atures</a:t>
            </a:r>
            <a:r>
              <a:rPr lang="it-IT" sz="1600" dirty="0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</p:txBody>
      </p:sp>
      <p:sp>
        <p:nvSpPr>
          <p:cNvPr id="10" name="Ovale 9" descr="" title=""/>
          <p:cNvSpPr/>
          <p:nvPr/>
        </p:nvSpPr>
        <p:spPr>
          <a:xfrm>
            <a:off x="2620963" y="3689350"/>
            <a:ext cx="2374900" cy="1368425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t-IT" sz="1600" dirty="0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</a:t>
            </a:r>
            <a:r>
              <a:rPr lang="it-IT" sz="1600" dirty="0" err="1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ical</a:t>
            </a:r>
            <a:r>
              <a:rPr lang="it-IT" sz="1600" dirty="0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600" dirty="0" err="1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atures</a:t>
            </a:r>
            <a:r>
              <a:rPr lang="it-IT" sz="1600" dirty="0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600" dirty="0" err="1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vide</a:t>
            </a:r>
            <a:r>
              <a:rPr lang="it-IT" sz="1600" dirty="0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ventive </a:t>
            </a:r>
            <a:r>
              <a:rPr lang="it-IT" sz="1600" dirty="0" err="1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fferences</a:t>
            </a:r>
            <a:r>
              <a:rPr lang="it-IT" sz="1600" dirty="0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?</a:t>
            </a:r>
          </a:p>
        </p:txBody>
      </p:sp>
      <p:sp>
        <p:nvSpPr>
          <p:cNvPr id="31751" name="CasellaDiTesto 13" descr="" title=""/>
          <p:cNvSpPr txBox="1">
            <a:spLocks noChangeArrowheads="1"/>
          </p:cNvSpPr>
          <p:nvPr/>
        </p:nvSpPr>
        <p:spPr bwMode="auto">
          <a:xfrm>
            <a:off x="1979613" y="760413"/>
            <a:ext cx="504825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it-IT" altLang="it-IT" sz="1600">
                <a:solidFill>
                  <a:srgbClr val="00426F"/>
                </a:solidFill>
                <a:latin typeface="Arial" charset="0"/>
              </a:rPr>
              <a:t>NO</a:t>
            </a:r>
          </a:p>
        </p:txBody>
      </p:sp>
      <p:sp>
        <p:nvSpPr>
          <p:cNvPr id="19" name="Ovale 18" descr="" title=""/>
          <p:cNvSpPr/>
          <p:nvPr/>
        </p:nvSpPr>
        <p:spPr>
          <a:xfrm>
            <a:off x="3213100" y="5522913"/>
            <a:ext cx="1206500" cy="1196975"/>
          </a:xfrm>
          <a:prstGeom prst="ellips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t-IT" sz="2000" dirty="0">
                <a:latin typeface="Arial" panose="020B0604020202020204" pitchFamily="34" charset="0"/>
                <a:cs typeface="Arial" panose="020B0604020202020204" pitchFamily="34" charset="0"/>
              </a:rPr>
              <a:t>OK !</a:t>
            </a:r>
          </a:p>
        </p:txBody>
      </p:sp>
      <p:sp>
        <p:nvSpPr>
          <p:cNvPr id="31753" name="CasellaDiTesto 23" descr="" title=""/>
          <p:cNvSpPr txBox="1">
            <a:spLocks noChangeArrowheads="1"/>
          </p:cNvSpPr>
          <p:nvPr/>
        </p:nvSpPr>
        <p:spPr bwMode="auto">
          <a:xfrm>
            <a:off x="3771900" y="1584325"/>
            <a:ext cx="1836738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it-IT" altLang="it-IT" sz="1600" dirty="0">
                <a:solidFill>
                  <a:srgbClr val="00426F"/>
                </a:solidFill>
                <a:latin typeface="Arial" charset="0"/>
              </a:rPr>
              <a:t>YES (</a:t>
            </a:r>
            <a:r>
              <a:rPr lang="it-IT" altLang="it-IT" sz="1600" b="1" dirty="0">
                <a:solidFill>
                  <a:srgbClr val="00426F"/>
                </a:solidFill>
                <a:latin typeface="Arial" charset="0"/>
              </a:rPr>
              <a:t>«</a:t>
            </a:r>
            <a:r>
              <a:rPr lang="it-IT" altLang="it-IT" sz="1600" b="1" i="1" dirty="0">
                <a:solidFill>
                  <a:srgbClr val="00426F"/>
                </a:solidFill>
                <a:latin typeface="Arial" charset="0"/>
              </a:rPr>
              <a:t>eligible»</a:t>
            </a:r>
            <a:r>
              <a:rPr lang="it-IT" altLang="it-IT" sz="1600" dirty="0">
                <a:solidFill>
                  <a:srgbClr val="00426F"/>
                </a:solidFill>
                <a:latin typeface="Arial" charset="0"/>
              </a:rPr>
              <a:t>)</a:t>
            </a:r>
          </a:p>
        </p:txBody>
      </p:sp>
      <p:cxnSp>
        <p:nvCxnSpPr>
          <p:cNvPr id="28" name="Connettore 2 27" descr="" title=""/>
          <p:cNvCxnSpPr>
            <a:stCxn id="3" idx="4"/>
            <a:endCxn id="9" idx="0"/>
          </p:cNvCxnSpPr>
          <p:nvPr/>
        </p:nvCxnSpPr>
        <p:spPr>
          <a:xfrm>
            <a:off x="3816350" y="1563688"/>
            <a:ext cx="0" cy="352425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ttore 2 29" descr="" title=""/>
          <p:cNvCxnSpPr>
            <a:stCxn id="9" idx="4"/>
            <a:endCxn id="10" idx="0"/>
          </p:cNvCxnSpPr>
          <p:nvPr/>
        </p:nvCxnSpPr>
        <p:spPr>
          <a:xfrm flipH="1">
            <a:off x="3808413" y="3284538"/>
            <a:ext cx="7937" cy="404812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nettore 2 31" descr="" title=""/>
          <p:cNvCxnSpPr>
            <a:stCxn id="10" idx="4"/>
            <a:endCxn id="19" idx="0"/>
          </p:cNvCxnSpPr>
          <p:nvPr/>
        </p:nvCxnSpPr>
        <p:spPr>
          <a:xfrm>
            <a:off x="3808413" y="5057775"/>
            <a:ext cx="7937" cy="465138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nettore 2 33" descr="" title=""/>
          <p:cNvCxnSpPr>
            <a:stCxn id="3" idx="2"/>
          </p:cNvCxnSpPr>
          <p:nvPr/>
        </p:nvCxnSpPr>
        <p:spPr>
          <a:xfrm flipH="1">
            <a:off x="1979613" y="879475"/>
            <a:ext cx="647700" cy="388938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ttangolo 34" descr="" title=""/>
          <p:cNvSpPr/>
          <p:nvPr/>
        </p:nvSpPr>
        <p:spPr>
          <a:xfrm>
            <a:off x="5634038" y="2997200"/>
            <a:ext cx="1584325" cy="936625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t-IT" sz="1600" dirty="0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 Inventive</a:t>
            </a:r>
          </a:p>
          <a:p>
            <a:pPr algn="ctr">
              <a:defRPr/>
            </a:pPr>
            <a:r>
              <a:rPr lang="it-IT" sz="1600" dirty="0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t. 56</a:t>
            </a:r>
          </a:p>
          <a:p>
            <a:pPr algn="ctr">
              <a:defRPr/>
            </a:pPr>
            <a:r>
              <a:rPr lang="it-IT" sz="1600" dirty="0" err="1">
                <a:solidFill>
                  <a:srgbClr val="004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jection</a:t>
            </a:r>
            <a:endParaRPr lang="it-IT" sz="1600" dirty="0">
              <a:solidFill>
                <a:srgbClr val="00426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759" name="CasellaDiTesto 41" descr="" title=""/>
          <p:cNvSpPr txBox="1">
            <a:spLocks noChangeArrowheads="1"/>
          </p:cNvSpPr>
          <p:nvPr/>
        </p:nvSpPr>
        <p:spPr bwMode="auto">
          <a:xfrm>
            <a:off x="5219700" y="2514600"/>
            <a:ext cx="64770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it-IT" altLang="it-IT" sz="1600">
                <a:solidFill>
                  <a:srgbClr val="00426F"/>
                </a:solidFill>
                <a:latin typeface="Arial" charset="0"/>
              </a:rPr>
              <a:t>YES</a:t>
            </a:r>
          </a:p>
        </p:txBody>
      </p:sp>
      <p:sp>
        <p:nvSpPr>
          <p:cNvPr id="31760" name="CasellaDiTesto 42" descr="" title=""/>
          <p:cNvSpPr txBox="1">
            <a:spLocks noChangeArrowheads="1"/>
          </p:cNvSpPr>
          <p:nvPr/>
        </p:nvSpPr>
        <p:spPr bwMode="auto">
          <a:xfrm>
            <a:off x="5219700" y="4098925"/>
            <a:ext cx="504825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it-IT" altLang="it-IT" sz="1600">
                <a:solidFill>
                  <a:srgbClr val="00426F"/>
                </a:solidFill>
                <a:latin typeface="Arial" charset="0"/>
              </a:rPr>
              <a:t>NO</a:t>
            </a:r>
          </a:p>
        </p:txBody>
      </p:sp>
      <p:sp>
        <p:nvSpPr>
          <p:cNvPr id="31761" name="CasellaDiTesto 43" descr="" title=""/>
          <p:cNvSpPr txBox="1">
            <a:spLocks noChangeArrowheads="1"/>
          </p:cNvSpPr>
          <p:nvPr/>
        </p:nvSpPr>
        <p:spPr bwMode="auto">
          <a:xfrm>
            <a:off x="5795963" y="371475"/>
            <a:ext cx="3027362" cy="1570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it-IT" altLang="it-IT" sz="4800" b="1">
                <a:solidFill>
                  <a:srgbClr val="00426F"/>
                </a:solidFill>
                <a:latin typeface="Arial" charset="0"/>
              </a:rPr>
              <a:t>European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it-IT" altLang="it-IT" sz="4800" b="1">
                <a:solidFill>
                  <a:srgbClr val="00426F"/>
                </a:solidFill>
                <a:latin typeface="Arial" charset="0"/>
              </a:rPr>
              <a:t>Claims</a:t>
            </a:r>
          </a:p>
        </p:txBody>
      </p:sp>
      <p:sp>
        <p:nvSpPr>
          <p:cNvPr id="31762" name="CasellaDiTesto 44" descr="" title=""/>
          <p:cNvSpPr txBox="1">
            <a:spLocks noChangeArrowheads="1"/>
          </p:cNvSpPr>
          <p:nvPr/>
        </p:nvSpPr>
        <p:spPr bwMode="auto">
          <a:xfrm>
            <a:off x="3816350" y="5013325"/>
            <a:ext cx="64770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it-IT" altLang="it-IT" sz="1600">
                <a:solidFill>
                  <a:srgbClr val="00426F"/>
                </a:solidFill>
                <a:latin typeface="Arial" charset="0"/>
              </a:rPr>
              <a:t>YES</a:t>
            </a:r>
          </a:p>
        </p:txBody>
      </p:sp>
      <p:sp>
        <p:nvSpPr>
          <p:cNvPr id="31763" name="CasellaDiTesto 45" descr="" title=""/>
          <p:cNvSpPr txBox="1">
            <a:spLocks noChangeArrowheads="1"/>
          </p:cNvSpPr>
          <p:nvPr/>
        </p:nvSpPr>
        <p:spPr bwMode="auto">
          <a:xfrm>
            <a:off x="3900488" y="3317875"/>
            <a:ext cx="504825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it-IT" altLang="it-IT" sz="1600">
                <a:solidFill>
                  <a:srgbClr val="00426F"/>
                </a:solidFill>
                <a:latin typeface="Arial" charset="0"/>
              </a:rPr>
              <a:t>NO</a:t>
            </a:r>
          </a:p>
        </p:txBody>
      </p:sp>
      <p:cxnSp>
        <p:nvCxnSpPr>
          <p:cNvPr id="48" name="Connettore 2 47" descr="" title=""/>
          <p:cNvCxnSpPr>
            <a:stCxn id="9" idx="6"/>
          </p:cNvCxnSpPr>
          <p:nvPr/>
        </p:nvCxnSpPr>
        <p:spPr>
          <a:xfrm>
            <a:off x="5003800" y="2600325"/>
            <a:ext cx="630238" cy="396875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onnettore 2 49" descr="" title=""/>
          <p:cNvCxnSpPr>
            <a:stCxn id="10" idx="6"/>
          </p:cNvCxnSpPr>
          <p:nvPr/>
        </p:nvCxnSpPr>
        <p:spPr>
          <a:xfrm flipV="1">
            <a:off x="4995863" y="3978275"/>
            <a:ext cx="612775" cy="395288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 descr="" title="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D0BEBD-6114-4042-8DE0-2244D19895E9}" type="slidenum">
              <a:rPr lang="it-IT" altLang="it-IT" smtClean="0"/>
              <a:pPr/>
              <a:t>14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1882591901"/>
      </p:ext>
    </p:extLst>
  </p:cSld>
  <p:clrMapOvr>
    <a:masterClrMapping/>
  </p:clrMapOvr>
</p:sld>
</file>

<file path=ppt/slides/slide2.xml><?xml version="1.0" encoding="utf-8"?>
<p:sld xmlns:p14="http://schemas.microsoft.com/office/powerpoint/2010/main" xmlns:a16="http://schemas.microsoft.com/office/drawing/2014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 descr="" titl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 descr="" title="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b="1" dirty="0" smtClean="0"/>
              <a:t>U.S. Resources For </a:t>
            </a:r>
            <a:br>
              <a:rPr lang="en-US" b="1" dirty="0" smtClean="0"/>
            </a:br>
            <a:r>
              <a:rPr lang="en-US" b="1" dirty="0" smtClean="0"/>
              <a:t>Subject Matter Eligibility</a:t>
            </a:r>
            <a:endParaRPr lang="en-US" b="1" dirty="0"/>
          </a:p>
        </p:txBody>
      </p:sp>
      <p:sp>
        <p:nvSpPr>
          <p:cNvPr id="4" name="Slide Number Placeholder 3" descr="" title="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0CF2A8-0F06-0B4F-A023-17698AFBF42D}" type="slidenum">
              <a:rPr lang="en-US" smtClean="0"/>
              <a:pPr/>
              <a:t>1</a:t>
            </a:fld>
            <a:endParaRPr lang="en-US" dirty="0"/>
          </a:p>
        </p:txBody>
      </p:sp>
      <p:graphicFrame>
        <p:nvGraphicFramePr>
          <p:cNvPr id="5" name="Table 4" descr="" title="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4717345"/>
              </p:ext>
            </p:extLst>
          </p:nvPr>
        </p:nvGraphicFramePr>
        <p:xfrm>
          <a:off x="152400" y="5325036"/>
          <a:ext cx="5965371" cy="153296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9653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42364">
                <a:tc>
                  <a:txBody>
                    <a:bodyPr/>
                    <a:lstStyle/>
                    <a:p>
                      <a:pPr algn="l"/>
                      <a:r>
                        <a:rPr lang="en-US" sz="2700" b="1" dirty="0" smtClean="0">
                          <a:solidFill>
                            <a:schemeClr val="bg1"/>
                          </a:solidFill>
                        </a:rPr>
                        <a:t>John Cabeca</a:t>
                      </a:r>
                      <a:endParaRPr lang="en-US" sz="2700" b="1" dirty="0">
                        <a:solidFill>
                          <a:schemeClr val="bg1"/>
                        </a:solidFill>
                      </a:endParaRPr>
                    </a:p>
                  </a:txBody>
                  <a:tcPr marT="60960" marB="6096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53440">
                <a:tc>
                  <a:txBody>
                    <a:bodyPr/>
                    <a:lstStyle/>
                    <a:p>
                      <a:pPr algn="l"/>
                      <a:r>
                        <a:rPr lang="en-US" sz="1900" i="1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rector of the </a:t>
                      </a:r>
                      <a:r>
                        <a:rPr lang="en-US" sz="1900" i="1" kern="1200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ited States Patent and Trademark Office</a:t>
                      </a:r>
                      <a:br>
                        <a:rPr lang="en-US" sz="1900" i="1" kern="1200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900" i="1" kern="1200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est Coast Regional Office</a:t>
                      </a:r>
                      <a:endParaRPr lang="en-US" sz="1900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60960" marB="6096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304941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 descr="" titl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 descr="" title=""/>
          <p:cNvSpPr>
            <a:spLocks noGrp="1"/>
          </p:cNvSpPr>
          <p:nvPr>
            <p:ph idx="1"/>
          </p:nvPr>
        </p:nvSpPr>
        <p:spPr>
          <a:xfrm>
            <a:off x="323850" y="1337733"/>
            <a:ext cx="3365500" cy="4112155"/>
          </a:xfrm>
        </p:spPr>
        <p:txBody>
          <a:bodyPr>
            <a:noAutofit/>
          </a:bodyPr>
          <a:lstStyle/>
          <a:p>
            <a:pPr marL="0" indent="0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sz="2200" dirty="0" smtClean="0"/>
              <a:t>Subject Matter Test for Products and Processes:</a:t>
            </a:r>
            <a:endParaRPr lang="en-US" sz="2200" b="1" dirty="0" smtClean="0"/>
          </a:p>
          <a:p>
            <a:pPr marL="400050" lvl="1" indent="0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en-US" sz="2000" dirty="0" smtClean="0"/>
              <a:t>Sets </a:t>
            </a:r>
            <a:r>
              <a:rPr lang="en-US" sz="2000" dirty="0"/>
              <a:t>forth the only analysis for examination of subject matter eligibility under 35 U.S.C. </a:t>
            </a:r>
            <a:r>
              <a:rPr lang="en-US" sz="2000" dirty="0" smtClean="0"/>
              <a:t>101</a:t>
            </a:r>
            <a:endParaRPr lang="en-US" sz="2000" dirty="0"/>
          </a:p>
        </p:txBody>
      </p:sp>
      <p:sp>
        <p:nvSpPr>
          <p:cNvPr id="4" name="Slide Number Placeholder 3" descr="" title="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DA454B-C859-4892-B9FA-68B588C9F547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5" name="Picture 4" descr="" title=""/>
          <p:cNvPicPr>
            <a:picLocks noChangeAspect="1"/>
          </p:cNvPicPr>
          <p:nvPr/>
        </p:nvPicPr>
        <p:blipFill rotWithShape="1">
          <a:blip r:embed="rId3"/>
          <a:srcRect t="5765"/>
          <a:stretch/>
        </p:blipFill>
        <p:spPr>
          <a:xfrm>
            <a:off x="3908425" y="3815"/>
            <a:ext cx="5006975" cy="6807491"/>
          </a:xfrm>
          <a:prstGeom prst="rect">
            <a:avLst/>
          </a:prstGeom>
        </p:spPr>
      </p:pic>
      <p:sp>
        <p:nvSpPr>
          <p:cNvPr id="2" name="Title 1" descr="" title=""/>
          <p:cNvSpPr>
            <a:spLocks noGrp="1"/>
          </p:cNvSpPr>
          <p:nvPr>
            <p:ph type="title"/>
          </p:nvPr>
        </p:nvSpPr>
        <p:spPr>
          <a:xfrm>
            <a:off x="104775" y="351418"/>
            <a:ext cx="8934450" cy="1060869"/>
          </a:xfrm>
        </p:spPr>
        <p:txBody>
          <a:bodyPr>
            <a:normAutofit/>
          </a:bodyPr>
          <a:lstStyle/>
          <a:p>
            <a:r>
              <a:rPr lang="en-US" dirty="0" smtClean="0"/>
              <a:t>Subject Matter Flowch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09322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4.xml><?xml version="1.0" encoding="utf-8"?>
<p:sld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 descr="" titl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 descr="" title="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se Law Chart</a:t>
            </a:r>
            <a:endParaRPr lang="en-US" dirty="0"/>
          </a:p>
        </p:txBody>
      </p:sp>
      <p:sp>
        <p:nvSpPr>
          <p:cNvPr id="3" name="Content Placeholder 2" descr="" title=""/>
          <p:cNvSpPr>
            <a:spLocks noGrp="1"/>
          </p:cNvSpPr>
          <p:nvPr>
            <p:ph idx="1"/>
          </p:nvPr>
        </p:nvSpPr>
        <p:spPr>
          <a:xfrm>
            <a:off x="457200" y="1423591"/>
            <a:ext cx="8229600" cy="4017587"/>
          </a:xfrm>
        </p:spPr>
        <p:txBody>
          <a:bodyPr>
            <a:normAutofit/>
          </a:bodyPr>
          <a:lstStyle/>
          <a:p>
            <a:r>
              <a:rPr lang="en-US" sz="2000" dirty="0" smtClean="0"/>
              <a:t>Case law chart provides additional information so examiners can look at the patent(s) and claim(s) at issue in the case</a:t>
            </a:r>
          </a:p>
          <a:p>
            <a:r>
              <a:rPr lang="en-US" sz="2000" dirty="0" smtClean="0"/>
              <a:t>QRS &amp; Chart are updated periodically (check 101 website)</a:t>
            </a:r>
            <a:endParaRPr lang="en-US" sz="2000" dirty="0"/>
          </a:p>
        </p:txBody>
      </p:sp>
      <p:sp>
        <p:nvSpPr>
          <p:cNvPr id="4" name="Slide Number Placeholder 3" descr="" title="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DA454B-C859-4892-B9FA-68B588C9F547}" type="slidenum">
              <a:rPr lang="en-US" smtClean="0"/>
              <a:pPr/>
              <a:t>3</a:t>
            </a:fld>
            <a:endParaRPr lang="en-US" dirty="0"/>
          </a:p>
        </p:txBody>
      </p:sp>
      <p:grpSp>
        <p:nvGrpSpPr>
          <p:cNvPr id="5" name="Group 4" descr="" title=""/>
          <p:cNvGrpSpPr/>
          <p:nvPr/>
        </p:nvGrpSpPr>
        <p:grpSpPr>
          <a:xfrm>
            <a:off x="612249" y="3182668"/>
            <a:ext cx="7969858" cy="2950464"/>
            <a:chOff x="612249" y="2387001"/>
            <a:chExt cx="7969858" cy="2212848"/>
          </a:xfrm>
        </p:grpSpPr>
        <p:pic>
          <p:nvPicPr>
            <p:cNvPr id="7" name="Picture 6" descr="" title=""/>
            <p:cNvPicPr>
              <a:picLocks noChangeAspect="1"/>
            </p:cNvPicPr>
            <p:nvPr/>
          </p:nvPicPr>
          <p:blipFill rotWithShape="1">
            <a:blip r:embed="rId3"/>
            <a:srcRect t="-1" b="16807"/>
            <a:stretch/>
          </p:blipFill>
          <p:spPr>
            <a:xfrm>
              <a:off x="612249" y="2387001"/>
              <a:ext cx="7969858" cy="2212848"/>
            </a:xfrm>
            <a:prstGeom prst="rect">
              <a:avLst/>
            </a:prstGeom>
          </p:spPr>
        </p:pic>
        <p:sp>
          <p:nvSpPr>
            <p:cNvPr id="14" name="Rounded Rectangle 13" descr="" title=""/>
            <p:cNvSpPr/>
            <p:nvPr/>
          </p:nvSpPr>
          <p:spPr>
            <a:xfrm>
              <a:off x="612249" y="3252083"/>
              <a:ext cx="7911547" cy="461176"/>
            </a:xfrm>
            <a:prstGeom prst="roundRect">
              <a:avLst/>
            </a:prstGeom>
            <a:noFill/>
            <a:ln w="41275">
              <a:solidFill>
                <a:srgbClr val="AA2F3B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6561717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5.xml><?xml version="1.0" encoding="utf-8"?>
<p:sld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 descr="" titl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 descr="" title="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ick Reference Sheet (QRS)</a:t>
            </a:r>
            <a:endParaRPr lang="en-US" dirty="0"/>
          </a:p>
        </p:txBody>
      </p:sp>
      <p:sp>
        <p:nvSpPr>
          <p:cNvPr id="3" name="Content Placeholder 2" descr="" title=""/>
          <p:cNvSpPr>
            <a:spLocks noGrp="1"/>
          </p:cNvSpPr>
          <p:nvPr>
            <p:ph idx="1"/>
          </p:nvPr>
        </p:nvSpPr>
        <p:spPr>
          <a:xfrm>
            <a:off x="4183342" y="1528096"/>
            <a:ext cx="4503458" cy="4983739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2400" dirty="0" smtClean="0"/>
              <a:t>QRS groups abstract ideas to help examiners identify pertinent cases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2400" dirty="0" smtClean="0"/>
              <a:t>Many cases on the QRS will be explained in further detail in the next MPEP revision</a:t>
            </a:r>
            <a:r>
              <a:rPr lang="en-US" sz="2400" dirty="0" smtClean="0">
                <a:solidFill>
                  <a:prstClr val="black"/>
                </a:solidFill>
              </a:rPr>
              <a:t>, for example: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sz="1800" i="1" dirty="0">
                <a:solidFill>
                  <a:srgbClr val="C00000"/>
                </a:solidFill>
              </a:rPr>
              <a:t>FairWarning</a:t>
            </a:r>
            <a:r>
              <a:rPr lang="en-US" sz="1800" dirty="0"/>
              <a:t> is discussed </a:t>
            </a:r>
            <a:r>
              <a:rPr lang="en-US" sz="1800" dirty="0" smtClean="0"/>
              <a:t>along </a:t>
            </a:r>
            <a:r>
              <a:rPr lang="en-US" sz="1800" dirty="0"/>
              <a:t>with other cases concerning “idea of itself” and mental process concepts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sz="1800" i="1" dirty="0">
                <a:solidFill>
                  <a:srgbClr val="7030A0"/>
                </a:solidFill>
              </a:rPr>
              <a:t>Grams </a:t>
            </a:r>
            <a:r>
              <a:rPr lang="en-US" sz="1800" dirty="0">
                <a:solidFill>
                  <a:prstClr val="black"/>
                </a:solidFill>
              </a:rPr>
              <a:t>is discussed along with other cases concerning mathematical relationship concepts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endParaRPr lang="en-US" sz="2400" dirty="0">
              <a:solidFill>
                <a:prstClr val="black"/>
              </a:solidFill>
            </a:endParaRPr>
          </a:p>
          <a:p>
            <a:pPr lvl="1">
              <a:spcBef>
                <a:spcPts val="0"/>
              </a:spcBef>
              <a:spcAft>
                <a:spcPts val="600"/>
              </a:spcAft>
            </a:pPr>
            <a:endParaRPr lang="en-US" sz="2400" dirty="0"/>
          </a:p>
          <a:p>
            <a:pPr lvl="1">
              <a:spcBef>
                <a:spcPts val="0"/>
              </a:spcBef>
              <a:spcAft>
                <a:spcPts val="600"/>
              </a:spcAft>
            </a:pPr>
            <a:endParaRPr lang="en-US" sz="2400" dirty="0"/>
          </a:p>
        </p:txBody>
      </p:sp>
      <p:sp>
        <p:nvSpPr>
          <p:cNvPr id="4" name="Slide Number Placeholder 3" descr="" title="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DA454B-C859-4892-B9FA-68B588C9F547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7" name="Picture 6" descr="" title="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000" y="1318455"/>
            <a:ext cx="3802342" cy="5403019"/>
          </a:xfrm>
          <a:prstGeom prst="rect">
            <a:avLst/>
          </a:prstGeom>
        </p:spPr>
      </p:pic>
      <p:sp>
        <p:nvSpPr>
          <p:cNvPr id="11" name="Rounded Rectangle 10" descr="" title=""/>
          <p:cNvSpPr/>
          <p:nvPr/>
        </p:nvSpPr>
        <p:spPr>
          <a:xfrm>
            <a:off x="417443" y="3612857"/>
            <a:ext cx="1780430" cy="215044"/>
          </a:xfrm>
          <a:prstGeom prst="roundRect">
            <a:avLst/>
          </a:prstGeom>
          <a:noFill/>
          <a:ln w="25400">
            <a:solidFill>
              <a:srgbClr val="AA2F3B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1" descr="" title=""/>
          <p:cNvSpPr/>
          <p:nvPr/>
        </p:nvSpPr>
        <p:spPr>
          <a:xfrm>
            <a:off x="2282170" y="5703073"/>
            <a:ext cx="1828653" cy="180892"/>
          </a:xfrm>
          <a:prstGeom prst="roundRect">
            <a:avLst/>
          </a:prstGeom>
          <a:noFill/>
          <a:ln w="25400">
            <a:solidFill>
              <a:srgbClr val="604A7B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78380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6.xml><?xml version="1.0" encoding="utf-8"?>
<p:sld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 descr="" titl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 descr="" title="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>
                <a:cs typeface="Verdana"/>
              </a:rPr>
              <a:t>Claims That Are Eligible In Step 2A</a:t>
            </a:r>
            <a:br>
              <a:rPr lang="en-US" dirty="0">
                <a:cs typeface="Verdana"/>
              </a:rPr>
            </a:br>
            <a:r>
              <a:rPr lang="en-US" sz="2000" dirty="0">
                <a:cs typeface="Verdana"/>
              </a:rPr>
              <a:t>(Pathway B: Not Directed To An Exception</a:t>
            </a:r>
            <a:r>
              <a:rPr lang="en-US" sz="2000" dirty="0" smtClean="0">
                <a:cs typeface="Verdana"/>
              </a:rPr>
              <a:t>) – Case Law</a:t>
            </a:r>
            <a:endParaRPr lang="en-US" sz="2000" dirty="0"/>
          </a:p>
        </p:txBody>
      </p:sp>
      <p:sp>
        <p:nvSpPr>
          <p:cNvPr id="4" name="Slide Number Placeholder 3" descr="" title="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DA454B-C859-4892-B9FA-68B588C9F547}" type="slidenum">
              <a:rPr lang="en-US" smtClean="0"/>
              <a:t>5</a:t>
            </a:fld>
            <a:endParaRPr lang="en-US" dirty="0"/>
          </a:p>
        </p:txBody>
      </p:sp>
      <p:pic>
        <p:nvPicPr>
          <p:cNvPr id="6" name="Picture 5" descr="" title="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4400" y="1542326"/>
            <a:ext cx="6975676" cy="487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7114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 descr="" titl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 descr="" title="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>
                <a:cs typeface="Verdana"/>
              </a:rPr>
              <a:t>Claims That Are Eligible In Step 2B</a:t>
            </a:r>
            <a:br>
              <a:rPr lang="en-US" dirty="0">
                <a:cs typeface="Verdana"/>
              </a:rPr>
            </a:br>
            <a:r>
              <a:rPr lang="en-US" sz="2000" dirty="0">
                <a:cs typeface="Verdana"/>
              </a:rPr>
              <a:t>(Pathway C: Inventive Concept</a:t>
            </a:r>
            <a:r>
              <a:rPr lang="en-US" sz="2000" dirty="0" smtClean="0">
                <a:cs typeface="Verdana"/>
              </a:rPr>
              <a:t>) – Case Law</a:t>
            </a:r>
            <a:endParaRPr lang="en-US" sz="3200" dirty="0"/>
          </a:p>
        </p:txBody>
      </p:sp>
      <p:sp>
        <p:nvSpPr>
          <p:cNvPr id="4" name="Slide Number Placeholder 3" descr="" title="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DA454B-C859-4892-B9FA-68B588C9F547}" type="slidenum">
              <a:rPr lang="en-US" smtClean="0"/>
              <a:t>6</a:t>
            </a:fld>
            <a:endParaRPr lang="en-US" dirty="0"/>
          </a:p>
        </p:txBody>
      </p:sp>
      <p:pic>
        <p:nvPicPr>
          <p:cNvPr id="6" name="Picture 5" descr="" title="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6800" y="2209800"/>
            <a:ext cx="7239000" cy="2821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22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 descr="" titl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 descr="" title="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Subject Matter Eligibility Examples</a:t>
            </a:r>
            <a:endParaRPr lang="en-US" dirty="0"/>
          </a:p>
        </p:txBody>
      </p:sp>
      <p:sp>
        <p:nvSpPr>
          <p:cNvPr id="3" name="Content Placeholder 2" descr="" title=""/>
          <p:cNvSpPr>
            <a:spLocks noGrp="1"/>
          </p:cNvSpPr>
          <p:nvPr>
            <p:ph idx="1"/>
          </p:nvPr>
        </p:nvSpPr>
        <p:spPr>
          <a:xfrm>
            <a:off x="457201" y="1737101"/>
            <a:ext cx="3886199" cy="4017587"/>
          </a:xfrm>
        </p:spPr>
        <p:txBody>
          <a:bodyPr>
            <a:no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000" dirty="0" smtClean="0"/>
              <a:t>Six sets of examples were issued, to explain how to apply the eligibility analysis to various </a:t>
            </a:r>
            <a:r>
              <a:rPr lang="en-US" sz="2000" dirty="0"/>
              <a:t>fact </a:t>
            </a:r>
            <a:r>
              <a:rPr lang="en-US" sz="2000" dirty="0" smtClean="0"/>
              <a:t>patterns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000" dirty="0" smtClean="0"/>
              <a:t>Cover technologies including biotechnology</a:t>
            </a:r>
            <a:r>
              <a:rPr lang="en-US" sz="2000" dirty="0"/>
              <a:t>, pharmaceuticals, business methods, computer-related inventions, and software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000" dirty="0"/>
              <a:t>Include eligible and ineligible claims, in accordance with case law and based on hypothetical fact </a:t>
            </a:r>
            <a:r>
              <a:rPr lang="en-US" sz="2000" dirty="0" smtClean="0"/>
              <a:t>patterns</a:t>
            </a:r>
            <a:endParaRPr lang="en-US" sz="2000" dirty="0"/>
          </a:p>
        </p:txBody>
      </p:sp>
      <p:sp>
        <p:nvSpPr>
          <p:cNvPr id="4" name="Slide Number Placeholder 3" descr="" title="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DA454B-C859-4892-B9FA-68B588C9F547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20" name="Picture 19" descr="" title="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91000" y="2057400"/>
            <a:ext cx="4841559" cy="2967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38019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3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9.xml><?xml version="1.0" encoding="utf-8"?>
<p:sld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 descr="" titl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 descr="" title="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MPEP Revision on Interim Eligibility Guidance</a:t>
            </a:r>
            <a:endParaRPr lang="en-US" dirty="0"/>
          </a:p>
        </p:txBody>
      </p:sp>
      <p:sp>
        <p:nvSpPr>
          <p:cNvPr id="3" name="Content Placeholder 2" descr="" title=""/>
          <p:cNvSpPr>
            <a:spLocks noGrp="1"/>
          </p:cNvSpPr>
          <p:nvPr>
            <p:ph idx="1"/>
          </p:nvPr>
        </p:nvSpPr>
        <p:spPr>
          <a:xfrm>
            <a:off x="457201" y="1737101"/>
            <a:ext cx="4131623" cy="4017587"/>
          </a:xfrm>
        </p:spPr>
        <p:txBody>
          <a:bodyPr>
            <a:no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000" dirty="0" smtClean="0"/>
              <a:t>The MPEP will soon be updated to incorporate the 2014 Interim Eligibility Guidance (IEG) and its updates</a:t>
            </a:r>
            <a:endParaRPr lang="en-US" sz="2000" dirty="0" smtClean="0">
              <a:sym typeface="Wingdings" panose="05000000000000000000" pitchFamily="2" charset="2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000" dirty="0" smtClean="0">
                <a:sym typeface="Wingdings" panose="05000000000000000000" pitchFamily="2" charset="2"/>
              </a:rPr>
              <a:t>This updated MPEP will replace (and supersede) the IEG and prior updates 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000" dirty="0" smtClean="0">
                <a:sym typeface="Wingdings" panose="05000000000000000000" pitchFamily="2" charset="2"/>
              </a:rPr>
              <a:t>Because rejections are based on the law, this change does not affect pending eligibility rejections or create new grounds of rejection</a:t>
            </a:r>
          </a:p>
        </p:txBody>
      </p:sp>
      <p:sp>
        <p:nvSpPr>
          <p:cNvPr id="4" name="Slide Number Placeholder 3" descr="" title="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DA454B-C859-4892-B9FA-68B588C9F547}" type="slidenum">
              <a:rPr lang="en-US" smtClean="0"/>
              <a:pPr/>
              <a:t>8</a:t>
            </a:fld>
            <a:endParaRPr lang="en-US" dirty="0"/>
          </a:p>
        </p:txBody>
      </p:sp>
      <p:grpSp>
        <p:nvGrpSpPr>
          <p:cNvPr id="19" name="Group 18" descr="" title=""/>
          <p:cNvGrpSpPr/>
          <p:nvPr/>
        </p:nvGrpSpPr>
        <p:grpSpPr>
          <a:xfrm>
            <a:off x="4419600" y="1600200"/>
            <a:ext cx="4572000" cy="4607210"/>
            <a:chOff x="4791518" y="1177394"/>
            <a:chExt cx="3935868" cy="3478163"/>
          </a:xfrm>
        </p:grpSpPr>
        <p:sp>
          <p:nvSpPr>
            <p:cNvPr id="17" name="Freeform 16" descr="" title=""/>
            <p:cNvSpPr/>
            <p:nvPr/>
          </p:nvSpPr>
          <p:spPr>
            <a:xfrm>
              <a:off x="7110418" y="2368944"/>
              <a:ext cx="716486" cy="662121"/>
            </a:xfrm>
            <a:custGeom>
              <a:avLst/>
              <a:gdLst>
                <a:gd name="connsiteX0" fmla="*/ 0 w 945424"/>
                <a:gd name="connsiteY0" fmla="*/ 472712 h 945424"/>
                <a:gd name="connsiteX1" fmla="*/ 472712 w 945424"/>
                <a:gd name="connsiteY1" fmla="*/ 0 h 945424"/>
                <a:gd name="connsiteX2" fmla="*/ 945424 w 945424"/>
                <a:gd name="connsiteY2" fmla="*/ 472712 h 945424"/>
                <a:gd name="connsiteX3" fmla="*/ 472712 w 945424"/>
                <a:gd name="connsiteY3" fmla="*/ 945424 h 945424"/>
                <a:gd name="connsiteX4" fmla="*/ 0 w 945424"/>
                <a:gd name="connsiteY4" fmla="*/ 472712 h 945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45424" h="945424">
                  <a:moveTo>
                    <a:pt x="0" y="472712"/>
                  </a:moveTo>
                  <a:cubicBezTo>
                    <a:pt x="0" y="211640"/>
                    <a:pt x="211640" y="0"/>
                    <a:pt x="472712" y="0"/>
                  </a:cubicBezTo>
                  <a:cubicBezTo>
                    <a:pt x="733784" y="0"/>
                    <a:pt x="945424" y="211640"/>
                    <a:pt x="945424" y="472712"/>
                  </a:cubicBezTo>
                  <a:cubicBezTo>
                    <a:pt x="945424" y="733784"/>
                    <a:pt x="733784" y="945424"/>
                    <a:pt x="472712" y="945424"/>
                  </a:cubicBezTo>
                  <a:cubicBezTo>
                    <a:pt x="211640" y="945424"/>
                    <a:pt x="0" y="733784"/>
                    <a:pt x="0" y="472712"/>
                  </a:cubicBezTo>
                  <a:close/>
                </a:path>
              </a:pathLst>
            </a:custGeom>
            <a:solidFill>
              <a:srgbClr val="1492CC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-16859301"/>
                <a:satOff val="7683"/>
                <a:lumOff val="-3334"/>
                <a:alphaOff val="0"/>
              </a:schemeClr>
            </a:fillRef>
            <a:effectRef idx="0">
              <a:schemeClr val="accent2">
                <a:hueOff val="-16859301"/>
                <a:satOff val="7683"/>
                <a:lumOff val="-3334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49884" tIns="149884" rIns="149884" bIns="149884" numCol="1" spcCol="1270" anchor="ctr" anchorCtr="0">
              <a:noAutofit/>
            </a:bodyPr>
            <a:lstStyle/>
            <a:p>
              <a:pPr lvl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900" kern="1200" dirty="0" smtClean="0"/>
                <a:t>Nov. 2016 Memo</a:t>
              </a:r>
              <a:endParaRPr lang="en-US" sz="900" kern="1200" dirty="0"/>
            </a:p>
          </p:txBody>
        </p:sp>
        <p:grpSp>
          <p:nvGrpSpPr>
            <p:cNvPr id="18" name="Group 17" descr="" title=""/>
            <p:cNvGrpSpPr/>
            <p:nvPr/>
          </p:nvGrpSpPr>
          <p:grpSpPr>
            <a:xfrm>
              <a:off x="4791518" y="1271041"/>
              <a:ext cx="3935868" cy="3384516"/>
              <a:chOff x="4791518" y="1271041"/>
              <a:chExt cx="3935868" cy="3384516"/>
            </a:xfrm>
          </p:grpSpPr>
          <p:sp>
            <p:nvSpPr>
              <p:cNvPr id="8" name="Oval 7" descr="" title=""/>
              <p:cNvSpPr/>
              <p:nvPr/>
            </p:nvSpPr>
            <p:spPr>
              <a:xfrm>
                <a:off x="5335403" y="1451619"/>
                <a:ext cx="2710216" cy="941222"/>
              </a:xfrm>
              <a:prstGeom prst="ellipse">
                <a:avLst/>
              </a:prstGeom>
            </p:spPr>
            <p:style>
              <a:lnRef idx="0">
                <a:schemeClr val="accent2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2">
                  <a:tint val="50000"/>
                  <a:alpha val="4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2">
                  <a:tint val="50000"/>
                  <a:alpha val="4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9" name="Down Arrow 8" descr="" title=""/>
              <p:cNvSpPr/>
              <p:nvPr/>
            </p:nvSpPr>
            <p:spPr>
              <a:xfrm>
                <a:off x="6510476" y="3756354"/>
                <a:ext cx="525235" cy="336150"/>
              </a:xfrm>
              <a:prstGeom prst="downArrow">
                <a:avLst/>
              </a:pr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2">
                  <a:tint val="4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2">
                  <a:tint val="4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10" name="Freeform 9" descr="" title=""/>
              <p:cNvSpPr/>
              <p:nvPr/>
            </p:nvSpPr>
            <p:spPr>
              <a:xfrm>
                <a:off x="5434148" y="4025275"/>
                <a:ext cx="2521131" cy="630282"/>
              </a:xfrm>
              <a:custGeom>
                <a:avLst/>
                <a:gdLst>
                  <a:gd name="connsiteX0" fmla="*/ 0 w 2521131"/>
                  <a:gd name="connsiteY0" fmla="*/ 0 h 630282"/>
                  <a:gd name="connsiteX1" fmla="*/ 2521131 w 2521131"/>
                  <a:gd name="connsiteY1" fmla="*/ 0 h 630282"/>
                  <a:gd name="connsiteX2" fmla="*/ 2521131 w 2521131"/>
                  <a:gd name="connsiteY2" fmla="*/ 630282 h 630282"/>
                  <a:gd name="connsiteX3" fmla="*/ 0 w 2521131"/>
                  <a:gd name="connsiteY3" fmla="*/ 630282 h 630282"/>
                  <a:gd name="connsiteX4" fmla="*/ 0 w 2521131"/>
                  <a:gd name="connsiteY4" fmla="*/ 0 h 6302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21131" h="630282">
                    <a:moveTo>
                      <a:pt x="0" y="0"/>
                    </a:moveTo>
                    <a:lnTo>
                      <a:pt x="2521131" y="0"/>
                    </a:lnTo>
                    <a:lnTo>
                      <a:pt x="2521131" y="630282"/>
                    </a:lnTo>
                    <a:lnTo>
                      <a:pt x="0" y="630282"/>
                    </a:lnTo>
                    <a:lnTo>
                      <a:pt x="0" y="0"/>
                    </a:lnTo>
                    <a:close/>
                  </a:path>
                </a:pathLst>
              </a:custGeom>
            </p:spPr>
            <p:style>
              <a:lnRef idx="0">
                <a:schemeClr val="dk1">
                  <a:alpha val="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28016" tIns="128016" rIns="128016" bIns="128016" numCol="1" spcCol="1270" anchor="ctr" anchorCtr="0">
                <a:noAutofit/>
              </a:bodyPr>
              <a:lstStyle/>
              <a:p>
                <a:pPr lvl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800" b="1" kern="1200" dirty="0" smtClean="0">
                    <a:solidFill>
                      <a:srgbClr val="0070C0"/>
                    </a:solidFill>
                  </a:rPr>
                  <a:t>Next MPEP Revision</a:t>
                </a:r>
                <a:endParaRPr lang="en-US" sz="1800" b="1" kern="1200" dirty="0">
                  <a:solidFill>
                    <a:srgbClr val="0070C0"/>
                  </a:solidFill>
                </a:endParaRPr>
              </a:p>
            </p:txBody>
          </p:sp>
          <p:sp>
            <p:nvSpPr>
              <p:cNvPr id="11" name="Freeform 10" descr="" title=""/>
              <p:cNvSpPr/>
              <p:nvPr/>
            </p:nvSpPr>
            <p:spPr>
              <a:xfrm>
                <a:off x="6286740" y="2663901"/>
                <a:ext cx="945424" cy="945424"/>
              </a:xfrm>
              <a:custGeom>
                <a:avLst/>
                <a:gdLst>
                  <a:gd name="connsiteX0" fmla="*/ 0 w 945424"/>
                  <a:gd name="connsiteY0" fmla="*/ 472712 h 945424"/>
                  <a:gd name="connsiteX1" fmla="*/ 472712 w 945424"/>
                  <a:gd name="connsiteY1" fmla="*/ 0 h 945424"/>
                  <a:gd name="connsiteX2" fmla="*/ 945424 w 945424"/>
                  <a:gd name="connsiteY2" fmla="*/ 472712 h 945424"/>
                  <a:gd name="connsiteX3" fmla="*/ 472712 w 945424"/>
                  <a:gd name="connsiteY3" fmla="*/ 945424 h 945424"/>
                  <a:gd name="connsiteX4" fmla="*/ 0 w 945424"/>
                  <a:gd name="connsiteY4" fmla="*/ 472712 h 9454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45424" h="945424">
                    <a:moveTo>
                      <a:pt x="0" y="472712"/>
                    </a:moveTo>
                    <a:cubicBezTo>
                      <a:pt x="0" y="211640"/>
                      <a:pt x="211640" y="0"/>
                      <a:pt x="472712" y="0"/>
                    </a:cubicBezTo>
                    <a:cubicBezTo>
                      <a:pt x="733784" y="0"/>
                      <a:pt x="945424" y="211640"/>
                      <a:pt x="945424" y="472712"/>
                    </a:cubicBezTo>
                    <a:cubicBezTo>
                      <a:pt x="945424" y="733784"/>
                      <a:pt x="733784" y="945424"/>
                      <a:pt x="472712" y="945424"/>
                    </a:cubicBezTo>
                    <a:cubicBezTo>
                      <a:pt x="211640" y="945424"/>
                      <a:pt x="0" y="733784"/>
                      <a:pt x="0" y="472712"/>
                    </a:cubicBezTo>
                    <a:close/>
                  </a:path>
                </a:pathLst>
              </a:custGeom>
              <a:solidFill>
                <a:srgbClr val="6D3377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2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2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49884" tIns="149884" rIns="149884" bIns="149884" numCol="1" spcCol="1270" anchor="ctr" anchorCtr="0">
                <a:noAutofit/>
              </a:bodyPr>
              <a:lstStyle/>
              <a:p>
                <a:pPr lvl="0" algn="ctr" defTabSz="4000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900" kern="1200" dirty="0" smtClean="0"/>
                  <a:t>May 2016 Instructions</a:t>
                </a:r>
                <a:endParaRPr lang="en-US" sz="900" kern="1200" dirty="0"/>
              </a:p>
            </p:txBody>
          </p:sp>
          <p:sp>
            <p:nvSpPr>
              <p:cNvPr id="12" name="Freeform 11" descr="" title=""/>
              <p:cNvSpPr/>
              <p:nvPr/>
            </p:nvSpPr>
            <p:spPr>
              <a:xfrm>
                <a:off x="5398099" y="1767677"/>
                <a:ext cx="945424" cy="945424"/>
              </a:xfrm>
              <a:custGeom>
                <a:avLst/>
                <a:gdLst>
                  <a:gd name="connsiteX0" fmla="*/ 0 w 945424"/>
                  <a:gd name="connsiteY0" fmla="*/ 472712 h 945424"/>
                  <a:gd name="connsiteX1" fmla="*/ 472712 w 945424"/>
                  <a:gd name="connsiteY1" fmla="*/ 0 h 945424"/>
                  <a:gd name="connsiteX2" fmla="*/ 945424 w 945424"/>
                  <a:gd name="connsiteY2" fmla="*/ 472712 h 945424"/>
                  <a:gd name="connsiteX3" fmla="*/ 472712 w 945424"/>
                  <a:gd name="connsiteY3" fmla="*/ 945424 h 945424"/>
                  <a:gd name="connsiteX4" fmla="*/ 0 w 945424"/>
                  <a:gd name="connsiteY4" fmla="*/ 472712 h 9454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45424" h="945424">
                    <a:moveTo>
                      <a:pt x="0" y="472712"/>
                    </a:moveTo>
                    <a:cubicBezTo>
                      <a:pt x="0" y="211640"/>
                      <a:pt x="211640" y="0"/>
                      <a:pt x="472712" y="0"/>
                    </a:cubicBezTo>
                    <a:cubicBezTo>
                      <a:pt x="733784" y="0"/>
                      <a:pt x="945424" y="211640"/>
                      <a:pt x="945424" y="472712"/>
                    </a:cubicBezTo>
                    <a:cubicBezTo>
                      <a:pt x="945424" y="733784"/>
                      <a:pt x="733784" y="945424"/>
                      <a:pt x="472712" y="945424"/>
                    </a:cubicBezTo>
                    <a:cubicBezTo>
                      <a:pt x="211640" y="945424"/>
                      <a:pt x="0" y="733784"/>
                      <a:pt x="0" y="472712"/>
                    </a:cubicBezTo>
                    <a:close/>
                  </a:path>
                </a:pathLst>
              </a:custGeom>
              <a:solidFill>
                <a:srgbClr val="88A425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2">
                  <a:hueOff val="-8429650"/>
                  <a:satOff val="3842"/>
                  <a:lumOff val="-1667"/>
                  <a:alphaOff val="0"/>
                </a:schemeClr>
              </a:fillRef>
              <a:effectRef idx="0">
                <a:schemeClr val="accent2">
                  <a:hueOff val="-8429650"/>
                  <a:satOff val="3842"/>
                  <a:lumOff val="-1667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49884" tIns="149884" rIns="149884" bIns="149884" numCol="1" spcCol="1270" anchor="ctr" anchorCtr="0">
                <a:noAutofit/>
              </a:bodyPr>
              <a:lstStyle/>
              <a:p>
                <a:pPr lvl="0" algn="ctr" defTabSz="4000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900" kern="1200" dirty="0" smtClean="0"/>
                  <a:t>July 2015 Update</a:t>
                </a:r>
                <a:endParaRPr lang="en-US" sz="900" kern="1200" dirty="0"/>
              </a:p>
            </p:txBody>
          </p:sp>
          <p:sp>
            <p:nvSpPr>
              <p:cNvPr id="13" name="Freeform 12" descr="" title=""/>
              <p:cNvSpPr/>
              <p:nvPr/>
            </p:nvSpPr>
            <p:spPr>
              <a:xfrm>
                <a:off x="6544771" y="1544351"/>
                <a:ext cx="945424" cy="945424"/>
              </a:xfrm>
              <a:custGeom>
                <a:avLst/>
                <a:gdLst>
                  <a:gd name="connsiteX0" fmla="*/ 0 w 945424"/>
                  <a:gd name="connsiteY0" fmla="*/ 472712 h 945424"/>
                  <a:gd name="connsiteX1" fmla="*/ 472712 w 945424"/>
                  <a:gd name="connsiteY1" fmla="*/ 0 h 945424"/>
                  <a:gd name="connsiteX2" fmla="*/ 945424 w 945424"/>
                  <a:gd name="connsiteY2" fmla="*/ 472712 h 945424"/>
                  <a:gd name="connsiteX3" fmla="*/ 472712 w 945424"/>
                  <a:gd name="connsiteY3" fmla="*/ 945424 h 945424"/>
                  <a:gd name="connsiteX4" fmla="*/ 0 w 945424"/>
                  <a:gd name="connsiteY4" fmla="*/ 472712 h 9454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45424" h="945424">
                    <a:moveTo>
                      <a:pt x="0" y="472712"/>
                    </a:moveTo>
                    <a:cubicBezTo>
                      <a:pt x="0" y="211640"/>
                      <a:pt x="211640" y="0"/>
                      <a:pt x="472712" y="0"/>
                    </a:cubicBezTo>
                    <a:cubicBezTo>
                      <a:pt x="733784" y="0"/>
                      <a:pt x="945424" y="211640"/>
                      <a:pt x="945424" y="472712"/>
                    </a:cubicBezTo>
                    <a:cubicBezTo>
                      <a:pt x="945424" y="733784"/>
                      <a:pt x="733784" y="945424"/>
                      <a:pt x="472712" y="945424"/>
                    </a:cubicBezTo>
                    <a:cubicBezTo>
                      <a:pt x="211640" y="945424"/>
                      <a:pt x="0" y="733784"/>
                      <a:pt x="0" y="472712"/>
                    </a:cubicBezTo>
                    <a:close/>
                  </a:path>
                </a:pathLst>
              </a:custGeom>
              <a:solidFill>
                <a:srgbClr val="AA2F3B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2">
                  <a:hueOff val="-16859301"/>
                  <a:satOff val="7683"/>
                  <a:lumOff val="-3334"/>
                  <a:alphaOff val="0"/>
                </a:schemeClr>
              </a:fillRef>
              <a:effectRef idx="0">
                <a:schemeClr val="accent2">
                  <a:hueOff val="-16859301"/>
                  <a:satOff val="7683"/>
                  <a:lumOff val="-3334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49884" tIns="149884" rIns="149884" bIns="149884" numCol="1" spcCol="1270" anchor="ctr" anchorCtr="0">
                <a:noAutofit/>
              </a:bodyPr>
              <a:lstStyle/>
              <a:p>
                <a:pPr lvl="0" algn="ctr" defTabSz="4000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900" kern="1200" dirty="0" smtClean="0"/>
                  <a:t>2014 IEG</a:t>
                </a:r>
                <a:endParaRPr lang="en-US" sz="900" kern="1200" dirty="0"/>
              </a:p>
            </p:txBody>
          </p:sp>
          <p:sp>
            <p:nvSpPr>
              <p:cNvPr id="14" name="Shape 13" descr="" title=""/>
              <p:cNvSpPr/>
              <p:nvPr/>
            </p:nvSpPr>
            <p:spPr>
              <a:xfrm>
                <a:off x="4791518" y="1271041"/>
                <a:ext cx="3935868" cy="2529088"/>
              </a:xfrm>
              <a:prstGeom prst="funnel">
                <a:avLst/>
              </a:prstGeom>
            </p:spPr>
            <p:style>
              <a:lnRef idx="1">
                <a:schemeClr val="accent2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alpha val="4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4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</p:grpSp>
        <p:sp>
          <p:nvSpPr>
            <p:cNvPr id="16" name="Freeform 15" descr="" title=""/>
            <p:cNvSpPr/>
            <p:nvPr/>
          </p:nvSpPr>
          <p:spPr>
            <a:xfrm>
              <a:off x="7620000" y="1554079"/>
              <a:ext cx="716486" cy="662121"/>
            </a:xfrm>
            <a:custGeom>
              <a:avLst/>
              <a:gdLst>
                <a:gd name="connsiteX0" fmla="*/ 0 w 945424"/>
                <a:gd name="connsiteY0" fmla="*/ 472712 h 945424"/>
                <a:gd name="connsiteX1" fmla="*/ 472712 w 945424"/>
                <a:gd name="connsiteY1" fmla="*/ 0 h 945424"/>
                <a:gd name="connsiteX2" fmla="*/ 945424 w 945424"/>
                <a:gd name="connsiteY2" fmla="*/ 472712 h 945424"/>
                <a:gd name="connsiteX3" fmla="*/ 472712 w 945424"/>
                <a:gd name="connsiteY3" fmla="*/ 945424 h 945424"/>
                <a:gd name="connsiteX4" fmla="*/ 0 w 945424"/>
                <a:gd name="connsiteY4" fmla="*/ 472712 h 945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45424" h="945424">
                  <a:moveTo>
                    <a:pt x="0" y="472712"/>
                  </a:moveTo>
                  <a:cubicBezTo>
                    <a:pt x="0" y="211640"/>
                    <a:pt x="211640" y="0"/>
                    <a:pt x="472712" y="0"/>
                  </a:cubicBezTo>
                  <a:cubicBezTo>
                    <a:pt x="733784" y="0"/>
                    <a:pt x="945424" y="211640"/>
                    <a:pt x="945424" y="472712"/>
                  </a:cubicBezTo>
                  <a:cubicBezTo>
                    <a:pt x="945424" y="733784"/>
                    <a:pt x="733784" y="945424"/>
                    <a:pt x="472712" y="945424"/>
                  </a:cubicBezTo>
                  <a:cubicBezTo>
                    <a:pt x="211640" y="945424"/>
                    <a:pt x="0" y="733784"/>
                    <a:pt x="0" y="472712"/>
                  </a:cubicBezTo>
                  <a:close/>
                </a:path>
              </a:pathLst>
            </a:custGeom>
            <a:solidFill>
              <a:srgbClr val="F99704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-16859301"/>
                <a:satOff val="7683"/>
                <a:lumOff val="-3334"/>
                <a:alphaOff val="0"/>
              </a:schemeClr>
            </a:fillRef>
            <a:effectRef idx="0">
              <a:schemeClr val="accent2">
                <a:hueOff val="-16859301"/>
                <a:satOff val="7683"/>
                <a:lumOff val="-3334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49884" tIns="149884" rIns="149884" bIns="149884" numCol="1" spcCol="1270" anchor="ctr" anchorCtr="0">
              <a:noAutofit/>
            </a:bodyPr>
            <a:lstStyle/>
            <a:p>
              <a:pPr lvl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900" dirty="0" smtClean="0"/>
                <a:t>July</a:t>
              </a:r>
              <a:r>
                <a:rPr lang="en-US" sz="900" kern="1200" dirty="0" smtClean="0"/>
                <a:t> 2016 Memo</a:t>
              </a:r>
              <a:endParaRPr lang="en-US" sz="900" kern="1200" dirty="0"/>
            </a:p>
          </p:txBody>
        </p:sp>
        <p:sp>
          <p:nvSpPr>
            <p:cNvPr id="15" name="Freeform 14" descr="" title=""/>
            <p:cNvSpPr/>
            <p:nvPr/>
          </p:nvSpPr>
          <p:spPr>
            <a:xfrm>
              <a:off x="5928497" y="1177394"/>
              <a:ext cx="716486" cy="662121"/>
            </a:xfrm>
            <a:custGeom>
              <a:avLst/>
              <a:gdLst>
                <a:gd name="connsiteX0" fmla="*/ 0 w 945424"/>
                <a:gd name="connsiteY0" fmla="*/ 472712 h 945424"/>
                <a:gd name="connsiteX1" fmla="*/ 472712 w 945424"/>
                <a:gd name="connsiteY1" fmla="*/ 0 h 945424"/>
                <a:gd name="connsiteX2" fmla="*/ 945424 w 945424"/>
                <a:gd name="connsiteY2" fmla="*/ 472712 h 945424"/>
                <a:gd name="connsiteX3" fmla="*/ 472712 w 945424"/>
                <a:gd name="connsiteY3" fmla="*/ 945424 h 945424"/>
                <a:gd name="connsiteX4" fmla="*/ 0 w 945424"/>
                <a:gd name="connsiteY4" fmla="*/ 472712 h 945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45424" h="945424">
                  <a:moveTo>
                    <a:pt x="0" y="472712"/>
                  </a:moveTo>
                  <a:cubicBezTo>
                    <a:pt x="0" y="211640"/>
                    <a:pt x="211640" y="0"/>
                    <a:pt x="472712" y="0"/>
                  </a:cubicBezTo>
                  <a:cubicBezTo>
                    <a:pt x="733784" y="0"/>
                    <a:pt x="945424" y="211640"/>
                    <a:pt x="945424" y="472712"/>
                  </a:cubicBezTo>
                  <a:cubicBezTo>
                    <a:pt x="945424" y="733784"/>
                    <a:pt x="733784" y="945424"/>
                    <a:pt x="472712" y="945424"/>
                  </a:cubicBezTo>
                  <a:cubicBezTo>
                    <a:pt x="211640" y="945424"/>
                    <a:pt x="0" y="733784"/>
                    <a:pt x="0" y="472712"/>
                  </a:cubicBezTo>
                  <a:close/>
                </a:path>
              </a:pathLst>
            </a:custGeom>
            <a:solidFill>
              <a:srgbClr val="02205E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-16859301"/>
                <a:satOff val="7683"/>
                <a:lumOff val="-3334"/>
                <a:alphaOff val="0"/>
              </a:schemeClr>
            </a:fillRef>
            <a:effectRef idx="0">
              <a:schemeClr val="accent2">
                <a:hueOff val="-16859301"/>
                <a:satOff val="7683"/>
                <a:lumOff val="-3334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49884" tIns="149884" rIns="149884" bIns="149884" numCol="1" spcCol="1270" anchor="ctr" anchorCtr="0">
              <a:noAutofit/>
            </a:bodyPr>
            <a:lstStyle/>
            <a:p>
              <a:pPr lvl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900" kern="1200" dirty="0" smtClean="0"/>
                <a:t>May 2016 Memo</a:t>
              </a:r>
              <a:endParaRPr lang="en-US" sz="900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26977306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3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TcJdMFHEac6TYAVx13wQ"/>
</p:tagLst>
</file>

<file path=ppt/theme/theme1.xml><?xml version="1.0" encoding="utf-8"?>
<a:theme xmlns:a="http://schemas.openxmlformats.org/drawingml/2006/main" name="Blank">
  <a:themeElements>
    <a:clrScheme name="MoFo Colors">
      <a:dk1>
        <a:sysClr val="windowText" lastClr="000000"/>
      </a:dk1>
      <a:lt1>
        <a:srgbClr val="FFFFFF"/>
      </a:lt1>
      <a:dk2>
        <a:srgbClr val="034193"/>
      </a:dk2>
      <a:lt2>
        <a:srgbClr val="E7EDF1"/>
      </a:lt2>
      <a:accent1>
        <a:srgbClr val="034193"/>
      </a:accent1>
      <a:accent2>
        <a:srgbClr val="0084A9"/>
      </a:accent2>
      <a:accent3>
        <a:srgbClr val="8DC63F"/>
      </a:accent3>
      <a:accent4>
        <a:srgbClr val="F57E25"/>
      </a:accent4>
      <a:accent5>
        <a:srgbClr val="B2B2B2"/>
      </a:accent5>
      <a:accent6>
        <a:srgbClr val="0D5EB6"/>
      </a:accent6>
      <a:hlink>
        <a:srgbClr val="034193"/>
      </a:hlink>
      <a:folHlink>
        <a:srgbClr val="7F7F7F"/>
      </a:folHlink>
    </a:clrScheme>
    <a:fontScheme name="MoFo Fonts">
      <a:majorFont>
        <a:latin typeface="HelveticaNeue LT 67 MdCn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lankTemplate_English.potx" id="{1CF69FA9-BD2F-4FE9-94FA-B44283BC4399}" vid="{4CFAD6AD-2064-4C9B-9EE5-B2D8E436126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lankTemplate_English.potx" id="{1CF69FA9-BD2F-4FE9-94FA-B44283BC4399}" vid="{D8BA9324-E9F6-4D4A-B73C-589C150900D5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58</Words>
  <Application>Microsoft Office PowerPoint</Application>
  <PresentationFormat>On-screen Show (4:3)</PresentationFormat>
  <Paragraphs>123</Paragraphs>
  <Slides>15</Slides>
  <Notes>15</Notes>
  <HiddenSlides>0</HiddenSlides>
  <MMClips>0</MMClips>
  <ScaleCrop>false</ScaleCrop>
  <HeadingPairs>
    <vt:vector size="6" baseType="variant">
      <vt:variant>
        <vt:lpstr>Fonts Used</vt:lpstr>
      </vt:variant>
      <vt:variant>
        <vt:i4>12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5</vt:i4>
      </vt:variant>
    </vt:vector>
  </HeadingPairs>
  <TitlesOfParts>
    <vt:vector size="29" baseType="lpstr">
      <vt:lpstr>ＭＳ Ｐゴシック</vt:lpstr>
      <vt:lpstr>Arial</vt:lpstr>
      <vt:lpstr>Calibri</vt:lpstr>
      <vt:lpstr>Calibri Light</vt:lpstr>
      <vt:lpstr>Eurostile LT</vt:lpstr>
      <vt:lpstr>Georgia</vt:lpstr>
      <vt:lpstr>HelveticaNeue LT 67 MdCn</vt:lpstr>
      <vt:lpstr>HelveticaNeue LT 97 BlackCn</vt:lpstr>
      <vt:lpstr>Segoe UI</vt:lpstr>
      <vt:lpstr>Times New Roman</vt:lpstr>
      <vt:lpstr>Verdana</vt:lpstr>
      <vt:lpstr>Wingdings</vt:lpstr>
      <vt:lpstr>Blank</vt:lpstr>
      <vt:lpstr>Office Theme</vt:lpstr>
      <vt:lpstr>Comparing subject matter eligibility in us and eu</vt:lpstr>
      <vt:lpstr>U.S. Resources For  Subject Matter Eligibility</vt:lpstr>
      <vt:lpstr>Subject Matter Flowchart</vt:lpstr>
      <vt:lpstr>Case Law Chart</vt:lpstr>
      <vt:lpstr>Quick Reference Sheet (QRS)</vt:lpstr>
      <vt:lpstr>Claims That Are Eligible In Step 2A (Pathway B: Not Directed To An Exception) – Case Law</vt:lpstr>
      <vt:lpstr>Claims That Are Eligible In Step 2B (Pathway C: Inventive Concept) – Case Law</vt:lpstr>
      <vt:lpstr>Subject Matter Eligibility Examples</vt:lpstr>
      <vt:lpstr>MPEP Revision on Interim Eligibility Guidance</vt:lpstr>
      <vt:lpstr>Statutory Subject Matter</vt:lpstr>
      <vt:lpstr>Article 56 EPC Inventive step and Technical Claim features</vt:lpstr>
      <vt:lpstr>The EPO Problem and Solution Approach</vt:lpstr>
      <vt:lpstr>Checklist and Safe Harbor Examples</vt:lpstr>
      <vt:lpstr>PowerPoint Presentation</vt:lpstr>
      <vt:lpstr>PowerPoint Presentation</vt:lpstr>
    </vt:vector>
  </TitlesOfParts>
  <Company>
  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
  </dc:title>
  <cp:lastModifiedBy>
  </cp:lastModifiedBy>
  <cp:revision>1</cp:revision>
  <dcterms:modified xsi:type="dcterms:W3CDTF">2018-01-23T02:38:58Z</dcterms:modified>
</cp:coreProperties>
</file>